
<file path=[Content_Types].xml><?xml version="1.0" encoding="utf-8"?>
<Types xmlns="http://schemas.openxmlformats.org/package/2006/content-types">
  <Override PartName="/docProps/core.xml" ContentType="application/vnd.openxmlformats-package.core-properties+xml"/>
  <Override PartName="/ppt/presentation.xml" ContentType="application/vnd.openxmlformats-officedocument.presentationml.presentation.main+xml"/>
  <Override PartName="/ppt/slides/slide1.xml" ContentType="application/vnd.openxmlformats-officedocument.presentationml.slide+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26.xml" ContentType="application/vnd.openxmlformats-officedocument.presentationml.slideLayout+xml"/>
  <Override PartName="/ppt/slideLayouts/slideLayout21.xml" ContentType="application/vnd.openxmlformats-officedocument.presentationml.slideLayout+xml"/>
  <Override PartName="/ppt/slideLayouts/slideLayout42.xml" ContentType="application/vnd.openxmlformats-officedocument.presentationml.slideLayout+xml"/>
  <Override PartName="/ppt/slideLayouts/slideLayout47.xml" ContentType="application/vnd.openxmlformats-officedocument.presentationml.slideLayout+xml"/>
  <Override PartName="/ppt/slideLayouts/slideLayout63.xml" ContentType="application/vnd.openxmlformats-officedocument.presentationml.slideLayout+xml"/>
  <Override PartName="/ppt/slideLayouts/slideLayout68.xml" ContentType="application/vnd.openxmlformats-officedocument.presentationml.slideLayout+xml"/>
  <Override PartName="/ppt/slideLayouts/slideLayout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16.xml" ContentType="application/vnd.openxmlformats-officedocument.presentationml.slideLayout+xml"/>
  <Override PartName="/ppt/slideLayouts/slideLayout29.xml" ContentType="application/vnd.openxmlformats-officedocument.presentationml.slideLayout+xml"/>
  <Override PartName="/ppt/slideLayouts/slideLayout11.xml" ContentType="application/vnd.openxmlformats-officedocument.presentationml.slideLayout+xml"/>
  <Override PartName="/ppt/slideLayouts/slideLayout24.xml" ContentType="application/vnd.openxmlformats-officedocument.presentationml.slideLayout+xml"/>
  <Override PartName="/ppt/slideLayouts/slideLayout32.xml" ContentType="application/vnd.openxmlformats-officedocument.presentationml.slideLayout+xml"/>
  <Override PartName="/ppt/slideLayouts/slideLayout37.xml" ContentType="application/vnd.openxmlformats-officedocument.presentationml.slideLayout+xml"/>
  <Override PartName="/ppt/slideLayouts/slideLayout40.xml" ContentType="application/vnd.openxmlformats-officedocument.presentationml.slideLayout+xml"/>
  <Override PartName="/ppt/slideLayouts/slideLayout45.xml" ContentType="application/vnd.openxmlformats-officedocument.presentationml.slideLayout+xml"/>
  <Override PartName="/ppt/slideLayouts/slideLayout53.xml" ContentType="application/vnd.openxmlformats-officedocument.presentationml.slideLayout+xml"/>
  <Override PartName="/ppt/slideLayouts/slideLayout58.xml" ContentType="application/vnd.openxmlformats-officedocument.presentationml.slideLayout+xml"/>
  <Override PartName="/ppt/slideLayouts/slideLayout66.xml" ContentType="application/vnd.openxmlformats-officedocument.presentationml.slideLayout+xml"/>
  <Override PartName="/ppt/slideLayouts/slideLayout5.xml" ContentType="application/vnd.openxmlformats-officedocument.presentationml.slideLayout+xml"/>
  <Override PartName="/ppt/slideLayouts/slideLayout61.xml" ContentType="application/vnd.openxmlformats-officedocument.presentationml.slideLayout+xml"/>
  <Override PartName="/ppt/slideLayouts/slideLayout19.xml" ContentType="application/vnd.openxmlformats-officedocument.presentationml.slideLayout+xml"/>
  <Override PartName="/ppt/slideLayouts/slideLayout14.xml" ContentType="application/vnd.openxmlformats-officedocument.presentationml.slideLayout+xml"/>
  <Override PartName="/ppt/slideLayouts/slideLayout22.xml" ContentType="application/vnd.openxmlformats-officedocument.presentationml.slideLayout+xml"/>
  <Override PartName="/ppt/slideLayouts/slideLayout27.xml" ContentType="application/vnd.openxmlformats-officedocument.presentationml.slideLayout+xml"/>
  <Override PartName="/ppt/slideLayouts/slideLayout30.xml" ContentType="application/vnd.openxmlformats-officedocument.presentationml.slideLayout+xml"/>
  <Override PartName="/ppt/slideLayouts/slideLayout35.xml" ContentType="application/vnd.openxmlformats-officedocument.presentationml.slideLayout+xml"/>
  <Override PartName="/ppt/slideLayouts/slideLayout43.xml" ContentType="application/vnd.openxmlformats-officedocument.presentationml.slideLayout+xml"/>
  <Override PartName="/ppt/slideLayouts/slideLayout48.xml" ContentType="application/vnd.openxmlformats-officedocument.presentationml.slideLayout+xml"/>
  <Override PartName="/ppt/slideLayouts/slideLayout56.xml" ContentType="application/vnd.openxmlformats-officedocument.presentationml.slideLayout+xml"/>
  <Override PartName="/ppt/slideLayouts/slideLayout64.xml" ContentType="application/vnd.openxmlformats-officedocument.presentationml.slideLayout+xml"/>
  <Override PartName="/ppt/slideLayouts/slideLayout69.xml" ContentType="application/vnd.openxmlformats-officedocument.presentationml.slideLayout+xml"/>
  <Override PartName="/ppt/slideLayouts/slideLayout8.xml" ContentType="application/vnd.openxmlformats-officedocument.presentationml.slideLayout+xml"/>
  <Override PartName="/ppt/slideLayouts/slideLayout51.xml" ContentType="application/vnd.openxmlformats-officedocument.presentationml.slideLayout+xml"/>
  <Override PartName="/ppt/slideLayouts/slideLayout3.xml" ContentType="application/vnd.openxmlformats-officedocument.presentationml.slideLayout+xml"/>
  <Override PartName="/ppt/slideLayouts/slideLayout12.xml" ContentType="application/vnd.openxmlformats-officedocument.presentationml.slideLayout+xml"/>
  <Override PartName="/ppt/slideLayouts/slideLayout17.xml" ContentType="application/vnd.openxmlformats-officedocument.presentationml.slideLayout+xml"/>
  <Override PartName="/ppt/slideLayouts/slideLayout25.xml" ContentType="application/vnd.openxmlformats-officedocument.presentationml.slideLayout+xml"/>
  <Override PartName="/ppt/slideLayouts/slideLayout33.xml" ContentType="application/vnd.openxmlformats-officedocument.presentationml.slideLayout+xml"/>
  <Override PartName="/ppt/slideLayouts/slideLayout38.xml" ContentType="application/vnd.openxmlformats-officedocument.presentationml.slideLayout+xml"/>
  <Override PartName="/ppt/slideLayouts/slideLayout46.xml" ContentType="application/vnd.openxmlformats-officedocument.presentationml.slideLayout+xml"/>
  <Override PartName="/ppt/slideLayouts/slideLayout59.xml" ContentType="application/vnd.openxmlformats-officedocument.presentationml.slideLayout+xml"/>
  <Override PartName="/ppt/slideLayouts/slideLayout67.xml" ContentType="application/vnd.openxmlformats-officedocument.presentationml.slideLayout+xml"/>
  <Override PartName="/ppt/slideLayouts/slideLayout20.xml" ContentType="application/vnd.openxmlformats-officedocument.presentationml.slideLayout+xml"/>
  <Override PartName="/ppt/slideLayouts/slideLayout41.xml" ContentType="application/vnd.openxmlformats-officedocument.presentationml.slideLayout+xml"/>
  <Override PartName="/ppt/slideLayouts/slideLayout54.xml" ContentType="application/vnd.openxmlformats-officedocument.presentationml.slideLayout+xml"/>
  <Override PartName="/ppt/slideLayouts/slideLayout62.xml" ContentType="application/vnd.openxmlformats-officedocument.presentationml.slideLayout+xml"/>
  <Override PartName="/ppt/slideLayouts/slideLayout70.xml" ContentType="application/vnd.openxmlformats-officedocument.presentationml.slideLayout+xml"/>
  <Override PartName="/ppt/slideLayouts/slideLayout6.xml" ContentType="application/vnd.openxmlformats-officedocument.presentationml.slideLayout+xml"/>
  <Override PartName="/ppt/slideLayouts/slideLayout15.xml" ContentType="application/vnd.openxmlformats-officedocument.presentationml.slideLayout+xml"/>
  <Override PartName="/ppt/slideLayouts/slideLayout23.xml" ContentType="application/vnd.openxmlformats-officedocument.presentationml.slideLayout+xml"/>
  <Override PartName="/ppt/slideLayouts/slideLayout28.xml" ContentType="application/vnd.openxmlformats-officedocument.presentationml.slideLayout+xml"/>
  <Override PartName="/ppt/slideLayouts/slideLayout36.xml" ContentType="application/vnd.openxmlformats-officedocument.presentationml.slideLayout+xml"/>
  <Override PartName="/ppt/slideLayouts/slideLayout49.xml" ContentType="application/vnd.openxmlformats-officedocument.presentationml.slideLayout+xml"/>
  <Override PartName="/ppt/slideLayouts/slideLayout57.xml" ContentType="application/vnd.openxmlformats-officedocument.presentationml.slideLayout+xml"/>
  <Override PartName="/ppt/slideLayouts/slideLayout10.xml" ContentType="application/vnd.openxmlformats-officedocument.presentationml.slideLayout+xml"/>
  <Override PartName="/ppt/slideLayouts/slideLayout31.xml" ContentType="application/vnd.openxmlformats-officedocument.presentationml.slideLayout+xml"/>
  <Override PartName="/ppt/slideLayouts/slideLayout44.xml" ContentType="application/vnd.openxmlformats-officedocument.presentationml.slideLayout+xml"/>
  <Override PartName="/ppt/slideLayouts/slideLayout52.xml" ContentType="application/vnd.openxmlformats-officedocument.presentationml.slideLayout+xml"/>
  <Override PartName="/ppt/slideLayouts/slideLayout60.xml" ContentType="application/vnd.openxmlformats-officedocument.presentationml.slideLayout+xml"/>
  <Override PartName="/ppt/slideLayouts/slideLayout65.xml" ContentType="application/vnd.openxmlformats-officedocument.presentationml.slideLayout+xml"/>
  <Override PartName="/ppt/slideLayouts/slideLayout4.xml" ContentType="application/vnd.openxmlformats-officedocument.presentationml.slideLayout+xml"/>
  <Override PartName="/ppt/slideLayouts/slideLayout9.xml" ContentType="application/vnd.openxmlformats-officedocument.presentationml.slideLayout+xml"/>
  <Override PartName="/ppt/slideLayouts/slideLayout13.xml" ContentType="application/vnd.openxmlformats-officedocument.presentationml.slideLayout+xml"/>
  <Override PartName="/ppt/slideLayouts/slideLayout18.xml" ContentType="application/vnd.openxmlformats-officedocument.presentationml.slideLayout+xml"/>
  <Override PartName="/ppt/slideLayouts/slideLayout39.xml" ContentType="application/vnd.openxmlformats-officedocument.presentationml.slideLayout+xml"/>
  <Override PartName="/ppt/slideLayouts/slideLayout34.xml" ContentType="application/vnd.openxmlformats-officedocument.presentationml.slideLayout+xml"/>
  <Override PartName="/ppt/slideLayouts/slideLayout50.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slides/slide3.xml" ContentType="application/vnd.openxmlformats-officedocument.presentationml.slide+xml"/>
  <Override PartName="/ppt/slides/slide4.xml" ContentType="application/vnd.openxmlformats-officedocument.presentationml.slide+xml"/>
  <Override PartName="/ppt/tags/tag3.xml" ContentType="application/vnd.openxmlformats-officedocument.presentationml.tags+xml"/>
  <Override PartName="/ppt/slides/slide5.xml" ContentType="application/vnd.openxmlformats-officedocument.presentationml.slide+xml"/>
  <Override PartName="/ppt/tags/tag4.xml" ContentType="application/vnd.openxmlformats-officedocument.presentationml.tags+xml"/>
  <Override PartName="/ppt/slides/slide6.xml" ContentType="application/vnd.openxmlformats-officedocument.presentationml.slide+xml"/>
  <Override PartName="/ppt/tags/tag5.xml" ContentType="application/vnd.openxmlformats-officedocument.presentationml.tags+xml"/>
  <Override PartName="/ppt/slides/slide7.xml" ContentType="application/vnd.openxmlformats-officedocument.presentationml.slide+xml"/>
  <Override PartName="/ppt/tags/tag6.xml" ContentType="application/vnd.openxmlformats-officedocument.presentationml.tags+xml"/>
  <Override PartName="/ppt/slides/slide8.xml" ContentType="application/vnd.openxmlformats-officedocument.presentationml.slide+xml"/>
  <Override PartName="/ppt/slides/slide9.xml" ContentType="application/vnd.openxmlformats-officedocument.presentationml.slide+xml"/>
  <Override PartName="/ppt/tags/tag7.xml" ContentType="application/vnd.openxmlformats-officedocument.presentationml.tags+xml"/>
  <Override PartName="/ppt/slides/slide10.xml" ContentType="application/vnd.openxmlformats-officedocument.presentationml.slide+xml"/>
  <Override PartName="/ppt/tags/tag8.xml" ContentType="application/vnd.openxmlformats-officedocument.presentationml.tags+xml"/>
  <Override PartName="/ppt/slides/slide11.xml" ContentType="application/vnd.openxmlformats-officedocument.presentationml.slide+xml"/>
  <Override PartName="/ppt/tags/tag9.xml" ContentType="application/vnd.openxmlformats-officedocument.presentationml.tags+xml"/>
  <Override PartName="/ppt/slides/slide12.xml" ContentType="application/vnd.openxmlformats-officedocument.presentationml.slide+xml"/>
  <Override PartName="/ppt/tags/tag10.xml" ContentType="application/vnd.openxmlformats-officedocument.presentationml.tags+xml"/>
  <Override PartName="/ppt/slides/slide13.xml" ContentType="application/vnd.openxmlformats-officedocument.presentationml.slide+xml"/>
  <Override PartName="/ppt/tags/tag11.xml" ContentType="application/vnd.openxmlformats-officedocument.presentationml.tags+xml"/>
  <Override PartName="/ppt/slides/slide14.xml" ContentType="application/vnd.openxmlformats-officedocument.presentationml.slide+xml"/>
  <Override PartName="/ppt/tags/tag12.xml" ContentType="application/vnd.openxmlformats-officedocument.presentationml.tags+xml"/>
  <Override PartName="/ppt/slides/slide15.xml" ContentType="application/vnd.openxmlformats-officedocument.presentationml.slide+xml"/>
  <Override PartName="/ppt/tags/tag13.xml" ContentType="application/vnd.openxmlformats-officedocument.presentationml.tags+xml"/>
  <Override PartName="/ppt/slides/slide16.xml" ContentType="application/vnd.openxmlformats-officedocument.presentationml.slide+xml"/>
  <Override PartName="/ppt/tags/tag14.xml" ContentType="application/vnd.openxmlformats-officedocument.presentationml.tags+xml"/>
  <Override PartName="/ppt/slides/slide17.xml" ContentType="application/vnd.openxmlformats-officedocument.presentationml.slide+xml"/>
  <Override PartName="/ppt/tags/tag15.xml" ContentType="application/vnd.openxmlformats-officedocument.presentationml.tags+xml"/>
  <Override PartName="/ppt/slides/slide18.xml" ContentType="application/vnd.openxmlformats-officedocument.presentationml.slide+xml"/>
  <Override PartName="/ppt/tags/tag16.xml" ContentType="application/vnd.openxmlformats-officedocument.presentationml.tags+xml"/>
  <Override PartName="/ppt/slides/slide19.xml" ContentType="application/vnd.openxmlformats-officedocument.presentationml.slide+xml"/>
  <Override PartName="/ppt/tags/tag17.xml" ContentType="application/vnd.openxmlformats-officedocument.presentationml.tags+xml"/>
  <Override PartName="/ppt/slides/slide20.xml" ContentType="application/vnd.openxmlformats-officedocument.presentationml.slide+xml"/>
  <Override PartName="/ppt/tags/tag18.xml" ContentType="application/vnd.openxmlformats-officedocument.presentationml.tags+xml"/>
  <Override PartName="/ppt/slides/slide21.xml" ContentType="application/vnd.openxmlformats-officedocument.presentationml.slide+xml"/>
  <Override PartName="/ppt/tags/tag19.xml" ContentType="application/vnd.openxmlformats-officedocument.presentationml.tags+xml"/>
  <Override PartName="/ppt/slides/slide22.xml" ContentType="application/vnd.openxmlformats-officedocument.presentationml.slide+xml"/>
  <Override PartName="/ppt/tags/tag20.xml" ContentType="application/vnd.openxmlformats-officedocument.presentationml.tags+xml"/>
  <Override PartName="/ppt/slides/slide23.xml" ContentType="application/vnd.openxmlformats-officedocument.presentationml.slide+xml"/>
  <Override PartName="/ppt/tags/tag21.xml" ContentType="application/vnd.openxmlformats-officedocument.presentationml.tags+xml"/>
  <Override PartName="/ppt/slides/slide24.xml" ContentType="application/vnd.openxmlformats-officedocument.presentationml.slide+xml"/>
  <Override PartName="/ppt/tags/tag22.xml" ContentType="application/vnd.openxmlformats-officedocument.presentationml.tags+xml"/>
  <Override PartName="/ppt/slides/slide25.xml" ContentType="application/vnd.openxmlformats-officedocument.presentationml.slide+xml"/>
  <Override PartName="/ppt/tags/tag23.xml" ContentType="application/vnd.openxmlformats-officedocument.presentationml.tags+xml"/>
  <Override PartName="/ppt/slides/slide26.xml" ContentType="application/vnd.openxmlformats-officedocument.presentationml.slide+xml"/>
  <Override PartName="/ppt/tags/tag24.xml" ContentType="application/vnd.openxmlformats-officedocument.presentationml.tags+xml"/>
  <Override PartName="/ppt/slides/slide27.xml" ContentType="application/vnd.openxmlformats-officedocument.presentationml.slide+xml"/>
  <Override PartName="/ppt/tags/tag25.xml" ContentType="application/vnd.openxmlformats-officedocument.presentationml.tags+xml"/>
  <Override PartName="/ppt/slides/slide28.xml" ContentType="application/vnd.openxmlformats-officedocument.presentationml.slide+xml"/>
  <Override PartName="/ppt/tags/tag26.xml" ContentType="application/vnd.openxmlformats-officedocument.presentationml.tags+xml"/>
  <Override PartName="/ppt/slides/slide29.xml" ContentType="application/vnd.openxmlformats-officedocument.presentationml.slide+xml"/>
  <Override PartName="/ppt/tags/tag27.xml" ContentType="application/vnd.openxmlformats-officedocument.presentationml.tags+xml"/>
  <Override PartName="/ppt/slides/slide30.xml" ContentType="application/vnd.openxmlformats-officedocument.presentationml.slide+xml"/>
  <Override PartName="/ppt/tags/tag28.xml" ContentType="application/vnd.openxmlformats-officedocument.presentationml.tags+xml"/>
  <Override PartName="/ppt/slides/slide31.xml" ContentType="application/vnd.openxmlformats-officedocument.presentationml.slide+xml"/>
  <Override PartName="/ppt/tags/tag29.xml" ContentType="application/vnd.openxmlformats-officedocument.presentationml.tags+xml"/>
  <Override PartName="/ppt/slides/slide32.xml" ContentType="application/vnd.openxmlformats-officedocument.presentationml.slide+xml"/>
  <Override PartName="/ppt/slides/slide33.xml" ContentType="application/vnd.openxmlformats-officedocument.presentationml.slide+xml"/>
  <Override PartName="/ppt/tags/tag30.xml" ContentType="application/vnd.openxmlformats-officedocument.presentationml.tags+xml"/>
  <Override PartName="/ppt/slides/slide34.xml" ContentType="application/vnd.openxmlformats-officedocument.presentationml.slide+xml"/>
  <Override PartName="/ppt/tags/tag31.xml" ContentType="application/vnd.openxmlformats-officedocument.presentationml.tags+xml"/>
  <Override PartName="/ppt/slides/slide35.xml" ContentType="application/vnd.openxmlformats-officedocument.presentationml.slide+xml"/>
  <Override PartName="/ppt/tags/tag32.xml" ContentType="application/vnd.openxmlformats-officedocument.presentationml.tags+xml"/>
  <Override PartName="/ppt/slides/slide36.xml" ContentType="application/vnd.openxmlformats-officedocument.presentationml.slide+xml"/>
  <Override PartName="/ppt/tags/tag33.xml" ContentType="application/vnd.openxmlformats-officedocument.presentationml.tags+xml"/>
  <Override PartName="/ppt/slides/slide37.xml" ContentType="application/vnd.openxmlformats-officedocument.presentationml.slide+xml"/>
  <Override PartName="/ppt/tags/tag34.xml" ContentType="application/vnd.openxmlformats-officedocument.presentationml.tags+xml"/>
  <Override PartName="/ppt/slides/slide38.xml" ContentType="application/vnd.openxmlformats-officedocument.presentationml.slide+xml"/>
  <Override PartName="/ppt/tags/tag35.xml" ContentType="application/vnd.openxmlformats-officedocument.presentationml.tags+xml"/>
  <Override PartName="/ppt/slides/slide39.xml" ContentType="application/vnd.openxmlformats-officedocument.presentationml.slide+xml"/>
  <Override PartName="/ppt/tags/tag36.xml" ContentType="application/vnd.openxmlformats-officedocument.presentationml.tags+xml"/>
  <Override PartName="/ppt/slides/slide40.xml" ContentType="application/vnd.openxmlformats-officedocument.presentationml.slide+xml"/>
  <Override PartName="/ppt/handoutMasters/handoutMaster1.xml" ContentType="application/vnd.openxmlformats-officedocument.presentationml.handoutMaster+xml"/>
  <Override PartName="/ppt/theme/theme3.xml" ContentType="application/vnd.openxmlformats-officedocument.theme+xml"/>
  <Override PartName="/ppt/viewProps.xml" ContentType="application/vnd.openxmlformats-officedocument.presentationml.viewProps+xml"/>
  <Override PartName="/customXml/itemProps2.xml" ContentType="application/vnd.openxmlformats-officedocument.customXmlProperties+xml"/>
  <Override PartName="/ppt/presProps.xml" ContentType="application/vnd.openxmlformats-officedocument.presentationml.presProps+xml"/>
  <Override PartName="/ppt/tableStyles.xml" ContentType="application/vnd.openxmlformats-officedocument.presentationml.tableStyles+xml"/>
  <Override PartName="/customXml/itemProps4.xml" ContentType="application/vnd.openxmlformats-officedocument.customXmlProperties+xml"/>
  <Override PartName="/ppt/tags/tag1.xml" ContentType="application/vnd.openxmlformats-officedocument.presentationml.tags+xml"/>
  <Override PartName="/customXml/itemProps3.xml" ContentType="application/vnd.openxmlformats-officedocument.customXmlProperties+xml"/>
  <Override PartName="/ppt/notesMasters/notesMaster1.xml" ContentType="application/vnd.openxmlformats-officedocument.presentationml.notesMaster+xml"/>
  <Override PartName="/ppt/theme/theme2.xml" ContentType="application/vnd.openxmlformats-officedocument.theme+xml"/>
  <Override PartName="/customXml/itemProps1.xml" ContentType="application/vnd.openxmlformats-officedocument.customXmlProperties+xml"/>
  <Override PartName="/docProps/app.xml" ContentType="application/vnd.openxmlformats-officedocument.extended-properties+xml"/>
  <Default Extension="jpeg" ContentType="image/jpeg"/>
  <Default Extension="png" ContentType="image/png"/>
  <Default Extension="rels" ContentType="application/vnd.openxmlformats-package.relationships+xml"/>
  <Default Extension="svg" ContentType="image/svg+xml"/>
  <Default Extension="xml" ContentType="application/xml"/>
</Types>
</file>

<file path=_rels/.rels>&#65279;<?xml version="1.0" encoding="UTF-8" standalone="yes"?>
<Relationships xmlns="http://schemas.openxmlformats.org/package/2006/relationships">
  <Relationship Id="rId3" Type="http://schemas.openxmlformats.org/package/2006/relationships/metadata/core-properties" Target="docProps/core.xml" />
  <Relationship Id="rId2" Type="http://schemas.openxmlformats.org/package/2006/relationships/metadata/thumbnail" Target="docProps/thumbnail.jpeg" />
  <Relationship Id="rId1" Type="http://schemas.openxmlformats.org/officeDocument/2006/relationships/officeDocument" Target="ppt/presentation.xml" />
  <Relationship Id="rId4" Type="http://schemas.openxmlformats.org/officeDocument/2006/relationships/extended-properties" Target="docProps/app.xml" />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46"/>
  </p:notesMasterIdLst>
  <p:handoutMasterIdLst>
    <p:handoutMasterId r:id="rId47"/>
  </p:handoutMasterIdLst>
  <p:sldIdLst>
    <p:sldId id="256" r:id="rId6"/>
    <p:sldId id="496" r:id="rId7"/>
    <p:sldId id="367" r:id="rId8"/>
    <p:sldId id="516" r:id="rId9"/>
    <p:sldId id="520" r:id="rId10"/>
    <p:sldId id="472" r:id="rId11"/>
    <p:sldId id="522" r:id="rId12"/>
    <p:sldId id="523" r:id="rId13"/>
    <p:sldId id="471" r:id="rId14"/>
    <p:sldId id="481" r:id="rId15"/>
    <p:sldId id="478" r:id="rId16"/>
    <p:sldId id="473" r:id="rId17"/>
    <p:sldId id="475" r:id="rId18"/>
    <p:sldId id="479" r:id="rId19"/>
    <p:sldId id="480" r:id="rId20"/>
    <p:sldId id="502" r:id="rId21"/>
    <p:sldId id="451" r:id="rId22"/>
    <p:sldId id="466" r:id="rId23"/>
    <p:sldId id="486" r:id="rId24"/>
    <p:sldId id="467" r:id="rId25"/>
    <p:sldId id="505" r:id="rId26"/>
    <p:sldId id="503" r:id="rId27"/>
    <p:sldId id="504" r:id="rId28"/>
    <p:sldId id="507" r:id="rId29"/>
    <p:sldId id="506" r:id="rId30"/>
    <p:sldId id="512" r:id="rId31"/>
    <p:sldId id="497" r:id="rId32"/>
    <p:sldId id="485" r:id="rId33"/>
    <p:sldId id="524" r:id="rId34"/>
    <p:sldId id="527" r:id="rId35"/>
    <p:sldId id="499" r:id="rId36"/>
    <p:sldId id="525" r:id="rId37"/>
    <p:sldId id="513" r:id="rId38"/>
    <p:sldId id="519" r:id="rId39"/>
    <p:sldId id="518" r:id="rId40"/>
    <p:sldId id="521" r:id="rId41"/>
    <p:sldId id="528" r:id="rId42"/>
    <p:sldId id="491" r:id="rId43"/>
    <p:sldId id="501" r:id="rId44"/>
    <p:sldId id="526" r:id="rId45"/>
  </p:sldIdLst>
  <p:sldSz cx="12192000" cy="6858000"/>
  <p:notesSz cx="6858000" cy="9144000"/>
  <p:custDataLst>
    <p:tags r:id="rId48"/>
  </p:custDataLst>
  <p:defaultText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C82"/>
    <a:srgbClr val="F0F0F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6E914CF-E091-4348-A3B9-0B77A1330A93}">
  <a:tblStyle styleId="{B6E914CF-E091-4348-A3B9-0B77A1330A93}" styleName="Bird &amp; Bird">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5C22544A-7EE6-4342-B048-85BDC9FD1C3A}" styleName="Medium Style 2 - Accent 1">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168" autoAdjust="0"/>
    <p:restoredTop sz="96211" autoAdjust="0"/>
  </p:normalViewPr>
  <p:slideViewPr>
    <p:cSldViewPr snapToGrid="0">
      <p:cViewPr varScale="1">
        <p:scale>
          <a:sx n="67" d="100"/>
          <a:sy n="67" d="100"/>
        </p:scale>
        <p:origin x="252" y="4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9610"/>
    </p:cViewPr>
  </p:sorterViewPr>
  <p:notesViewPr>
    <p:cSldViewPr snapToGrid="0" showGuides="1">
      <p:cViewPr varScale="1">
        <p:scale>
          <a:sx n="80" d="100"/>
          <a:sy n="80" d="100"/>
        </p:scale>
        <p:origin x="3762" y="108"/>
      </p:cViewPr>
      <p:guideLst/>
    </p:cSldViewPr>
  </p:notesViewPr>
  <p:gridSpacing cx="72008" cy="72008"/>
</p:viewPr>
</file>

<file path=ppt/_rels/presentation.xml.rels>&#65279;<?xml version="1.0" encoding="UTF-8" standalone="yes"?>
<Relationships xmlns="http://schemas.openxmlformats.org/package/2006/relationships">
  <Relationship Id="rId6" Type="http://schemas.openxmlformats.org/officeDocument/2006/relationships/slide" Target="slides/slide1.xml" />
  <Relationship Id="rId7" Type="http://schemas.openxmlformats.org/officeDocument/2006/relationships/slide" Target="slides/slide2.xml" />
  <Relationship Id="rId8" Type="http://schemas.openxmlformats.org/officeDocument/2006/relationships/slide" Target="slides/slide3.xml" />
  <Relationship Id="rId9" Type="http://schemas.openxmlformats.org/officeDocument/2006/relationships/slide" Target="slides/slide4.xml" />
  <Relationship Id="rId10" Type="http://schemas.openxmlformats.org/officeDocument/2006/relationships/slide" Target="slides/slide5.xml" />
  <Relationship Id="rId11" Type="http://schemas.openxmlformats.org/officeDocument/2006/relationships/slide" Target="slides/slide6.xml" />
  <Relationship Id="rId12" Type="http://schemas.openxmlformats.org/officeDocument/2006/relationships/slide" Target="slides/slide7.xml" />
  <Relationship Id="rId13" Type="http://schemas.openxmlformats.org/officeDocument/2006/relationships/slide" Target="slides/slide8.xml" />
  <Relationship Id="rId14" Type="http://schemas.openxmlformats.org/officeDocument/2006/relationships/slide" Target="slides/slide9.xml" />
  <Relationship Id="rId15" Type="http://schemas.openxmlformats.org/officeDocument/2006/relationships/slide" Target="slides/slide10.xml" />
  <Relationship Id="rId16" Type="http://schemas.openxmlformats.org/officeDocument/2006/relationships/slide" Target="slides/slide11.xml" />
  <Relationship Id="rId17" Type="http://schemas.openxmlformats.org/officeDocument/2006/relationships/slide" Target="slides/slide12.xml" />
  <Relationship Id="rId18" Type="http://schemas.openxmlformats.org/officeDocument/2006/relationships/slide" Target="slides/slide13.xml" />
  <Relationship Id="rId19" Type="http://schemas.openxmlformats.org/officeDocument/2006/relationships/slide" Target="slides/slide14.xml" />
  <Relationship Id="rId20" Type="http://schemas.openxmlformats.org/officeDocument/2006/relationships/slide" Target="slides/slide15.xml" />
  <Relationship Id="rId21" Type="http://schemas.openxmlformats.org/officeDocument/2006/relationships/slide" Target="slides/slide16.xml" />
  <Relationship Id="rId22" Type="http://schemas.openxmlformats.org/officeDocument/2006/relationships/slide" Target="slides/slide17.xml" />
  <Relationship Id="rId23" Type="http://schemas.openxmlformats.org/officeDocument/2006/relationships/slide" Target="slides/slide18.xml" />
  <Relationship Id="rId24" Type="http://schemas.openxmlformats.org/officeDocument/2006/relationships/slide" Target="slides/slide19.xml" />
  <Relationship Id="rId25" Type="http://schemas.openxmlformats.org/officeDocument/2006/relationships/slide" Target="slides/slide20.xml" />
  <Relationship Id="rId26" Type="http://schemas.openxmlformats.org/officeDocument/2006/relationships/slide" Target="slides/slide21.xml" />
  <Relationship Id="rId27" Type="http://schemas.openxmlformats.org/officeDocument/2006/relationships/slide" Target="slides/slide22.xml" />
  <Relationship Id="rId28" Type="http://schemas.openxmlformats.org/officeDocument/2006/relationships/slide" Target="slides/slide23.xml" />
  <Relationship Id="rId29" Type="http://schemas.openxmlformats.org/officeDocument/2006/relationships/slide" Target="slides/slide24.xml" />
  <Relationship Id="rId30" Type="http://schemas.openxmlformats.org/officeDocument/2006/relationships/slide" Target="slides/slide25.xml" />
  <Relationship Id="rId31" Type="http://schemas.openxmlformats.org/officeDocument/2006/relationships/slide" Target="slides/slide26.xml" />
  <Relationship Id="rId32" Type="http://schemas.openxmlformats.org/officeDocument/2006/relationships/slide" Target="slides/slide27.xml" />
  <Relationship Id="rId33" Type="http://schemas.openxmlformats.org/officeDocument/2006/relationships/slide" Target="slides/slide28.xml" />
  <Relationship Id="rId34" Type="http://schemas.openxmlformats.org/officeDocument/2006/relationships/slide" Target="slides/slide29.xml" />
  <Relationship Id="rId35" Type="http://schemas.openxmlformats.org/officeDocument/2006/relationships/slide" Target="slides/slide30.xml" />
  <Relationship Id="rId36" Type="http://schemas.openxmlformats.org/officeDocument/2006/relationships/slide" Target="slides/slide31.xml" />
  <Relationship Id="rId37" Type="http://schemas.openxmlformats.org/officeDocument/2006/relationships/slide" Target="slides/slide32.xml" />
  <Relationship Id="rId38" Type="http://schemas.openxmlformats.org/officeDocument/2006/relationships/slide" Target="slides/slide33.xml" />
  <Relationship Id="rId39" Type="http://schemas.openxmlformats.org/officeDocument/2006/relationships/slide" Target="slides/slide34.xml" />
  <Relationship Id="rId40" Type="http://schemas.openxmlformats.org/officeDocument/2006/relationships/slide" Target="slides/slide35.xml" />
  <Relationship Id="rId41" Type="http://schemas.openxmlformats.org/officeDocument/2006/relationships/slide" Target="slides/slide36.xml" />
  <Relationship Id="rId42" Type="http://schemas.openxmlformats.org/officeDocument/2006/relationships/slide" Target="slides/slide37.xml" />
  <Relationship Id="rId43" Type="http://schemas.openxmlformats.org/officeDocument/2006/relationships/slide" Target="slides/slide38.xml" />
  <Relationship Id="rId44" Type="http://schemas.openxmlformats.org/officeDocument/2006/relationships/slide" Target="slides/slide39.xml" />
  <Relationship Id="rId45" Type="http://schemas.openxmlformats.org/officeDocument/2006/relationships/slide" Target="slides/slide40.xml" />
  <Relationship Id="rId47" Type="http://schemas.openxmlformats.org/officeDocument/2006/relationships/handoutMaster" Target="handoutMasters/handoutMaster1.xml" />
  <Relationship Id="rId50" Type="http://schemas.openxmlformats.org/officeDocument/2006/relationships/viewProps" Target="viewProps.xml" />
  <Relationship Id="rId2" Type="http://schemas.openxmlformats.org/officeDocument/2006/relationships/customXml" Target="../customXml/item2.xml" />
  <Relationship Id="rId5" Type="http://schemas.openxmlformats.org/officeDocument/2006/relationships/slideMaster" Target="slideMasters/slideMaster1.xml" />
  <Relationship Id="rId49" Type="http://schemas.openxmlformats.org/officeDocument/2006/relationships/presProps" Target="presProps.xml" />
  <Relationship Id="rId52" Type="http://schemas.openxmlformats.org/officeDocument/2006/relationships/tableStyles" Target="tableStyles.xml" />
  <Relationship Id="rId4" Type="http://schemas.openxmlformats.org/officeDocument/2006/relationships/customXml" Target="../customXml/item4.xml" />
  <Relationship Id="rId48" Type="http://schemas.openxmlformats.org/officeDocument/2006/relationships/tags" Target="tags/tag1.xml" />
  <Relationship Id="rId51" Type="http://schemas.openxmlformats.org/officeDocument/2006/relationships/theme" Target="theme/theme1.xml" />
  <Relationship Id="rId3" Type="http://schemas.openxmlformats.org/officeDocument/2006/relationships/customXml" Target="../customXml/item3.xml" />
  <Relationship Id="rId46" Type="http://schemas.openxmlformats.org/officeDocument/2006/relationships/notesMaster" Target="notesMasters/notesMaster1.xml" />
  <Relationship Id="rId1" Type="http://schemas.openxmlformats.org/officeDocument/2006/relationships/customXml" Target="../customXml/item1.xml" />
</Relationships>
</file>

<file path=ppt/handoutMasters/_rels/handoutMaster1.xml.rels>&#65279;<?xml version="1.0" encoding="UTF-8" standalone="yes"?>
<Relationships xmlns="http://schemas.openxmlformats.org/package/2006/relationships">
  <Relationship Id="rId1" Type="http://schemas.openxmlformats.org/officeDocument/2006/relationships/theme" Target="../theme/theme3.xml" />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2A3464-1F9C-4FB9-A86F-089F2DC6D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A819BC2-36D0-4B45-94A9-C78D4BBBF98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2140E2-8FE0-477F-ABCA-0D9406DC1A18}" type="datetimeFigureOut">
              <a:rPr lang="en-GB" smtClean="0"/>
              <a:t/>
            </a:fld>
            <a:endParaRPr lang="en-GB"/>
          </a:p>
        </p:txBody>
      </p:sp>
      <p:sp>
        <p:nvSpPr>
          <p:cNvPr id="4" name="Footer Placeholder 3">
            <a:extLst>
              <a:ext uri="{FF2B5EF4-FFF2-40B4-BE49-F238E27FC236}">
                <a16:creationId xmlns:a16="http://schemas.microsoft.com/office/drawing/2014/main" id="{7BA8E174-17F4-440A-AD2E-52D18133EF9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005D94D-0467-41F1-8CC3-AE76EC2893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126785-7F39-4491-A6ED-08A7BD8E2ECE}" type="slidenum">
              <a:rPr lang="en-GB" smtClean="0"/>
              <a:t>‹#›</a:t>
            </a:fld>
            <a:endParaRPr lang="en-GB"/>
          </a:p>
        </p:txBody>
      </p:sp>
    </p:spTree>
    <p:extLst>
      <p:ext uri="{BB962C8B-B14F-4D97-AF65-F5344CB8AC3E}">
        <p14:creationId xmlns:p14="http://schemas.microsoft.com/office/powerpoint/2010/main" val="3722475839"/>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
<Relationships xmlns="http://schemas.openxmlformats.org/package/2006/relationships">
  <Relationship Id="rId1" Type="http://schemas.openxmlformats.org/officeDocument/2006/relationships/theme" Target="../theme/theme2.xml" />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B173CE-6B02-426E-8088-47D675976D29}" type="datetimeFigureOut">
              <a:rPr lang="en-GB" smtClean="0"/>
              <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AA0218-8EA7-46C1-B12C-665269A91A87}" type="slidenum">
              <a:rPr lang="en-GB" smtClean="0"/>
              <a:t>‹#›</a:t>
            </a:fld>
            <a:endParaRPr lang="en-GB"/>
          </a:p>
        </p:txBody>
      </p:sp>
    </p:spTree>
    <p:extLst>
      <p:ext uri="{BB962C8B-B14F-4D97-AF65-F5344CB8AC3E}">
        <p14:creationId xmlns:p14="http://schemas.microsoft.com/office/powerpoint/2010/main" val="2895932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65279;<?xml version="1.0" encoding="UTF-8" standalone="yes"?>
<Relationships xmlns="http://schemas.openxmlformats.org/package/2006/relationships">
  <Relationship Id="rId3" Type="http://schemas.openxmlformats.org/officeDocument/2006/relationships/image" Target="../media/image2.svg" />
  <Relationship Id="rId2" Type="http://schemas.openxmlformats.org/officeDocument/2006/relationships/image" Target="../media/image1.png" />
  <Relationship Id="rId1" Type="http://schemas.openxmlformats.org/officeDocument/2006/relationships/slideMaster" Target="../slideMasters/slideMaster1.xml" />
</Relationships>
</file>

<file path=ppt/slideLayouts/_rels/slideLayout1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5.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6.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7.xml.rels>&#65279;<?xml version="1.0" encoding="UTF-8" standalone="yes"?>
<Relationships xmlns="http://schemas.openxmlformats.org/package/2006/relationships">
  <Relationship Id="rId3" Type="http://schemas.openxmlformats.org/officeDocument/2006/relationships/image" Target="../media/image4.svg" />
  <Relationship Id="rId2" Type="http://schemas.openxmlformats.org/officeDocument/2006/relationships/image" Target="../media/image3.png" />
  <Relationship Id="rId1" Type="http://schemas.openxmlformats.org/officeDocument/2006/relationships/slideMaster" Target="../slideMasters/slideMaster1.xml" />
</Relationships>
</file>

<file path=ppt/slideLayouts/_rels/slideLayout18.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9.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5.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6.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7.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8.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9.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5.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6.xml.rels>&#65279;<?xml version="1.0" encoding="UTF-8" standalone="yes"?>
<Relationships xmlns="http://schemas.openxmlformats.org/package/2006/relationships">
  <Relationship Id="rId3" Type="http://schemas.openxmlformats.org/officeDocument/2006/relationships/image" Target="../media/image6.svg" />
  <Relationship Id="rId2" Type="http://schemas.openxmlformats.org/officeDocument/2006/relationships/image" Target="../media/image5.png" />
  <Relationship Id="rId1" Type="http://schemas.openxmlformats.org/officeDocument/2006/relationships/slideMaster" Target="../slideMasters/slideMaster1.xml" />
</Relationships>
</file>

<file path=ppt/slideLayouts/_rels/slideLayout37.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8.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9.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3.xml.rels>&#65279;<?xml version="1.0" encoding="UTF-8" standalone="yes"?>
<Relationships xmlns="http://schemas.openxmlformats.org/package/2006/relationships">
  <Relationship Id="rId3" Type="http://schemas.openxmlformats.org/officeDocument/2006/relationships/image" Target="../media/image6.svg" />
  <Relationship Id="rId2" Type="http://schemas.openxmlformats.org/officeDocument/2006/relationships/image" Target="../media/image5.png" />
  <Relationship Id="rId1" Type="http://schemas.openxmlformats.org/officeDocument/2006/relationships/slideMaster" Target="../slideMasters/slideMaster1.xml" />
</Relationships>
</file>

<file path=ppt/slideLayouts/_rels/slideLayout4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5.xml.rels>&#65279;<?xml version="1.0" encoding="UTF-8" standalone="yes"?>
<Relationships xmlns="http://schemas.openxmlformats.org/package/2006/relationships">
  <Relationship Id="rId3" Type="http://schemas.openxmlformats.org/officeDocument/2006/relationships/image" Target="../media/image6.svg" />
  <Relationship Id="rId2" Type="http://schemas.openxmlformats.org/officeDocument/2006/relationships/image" Target="../media/image5.png" />
  <Relationship Id="rId1" Type="http://schemas.openxmlformats.org/officeDocument/2006/relationships/slideMaster" Target="../slideMasters/slideMaster1.xml" />
</Relationships>
</file>

<file path=ppt/slideLayouts/_rels/slideLayout46.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7.xml.rels>&#65279;<?xml version="1.0" encoding="UTF-8" standalone="yes"?>
<Relationships xmlns="http://schemas.openxmlformats.org/package/2006/relationships">
  <Relationship Id="rId3" Type="http://schemas.openxmlformats.org/officeDocument/2006/relationships/image" Target="../media/image6.svg" />
  <Relationship Id="rId2" Type="http://schemas.openxmlformats.org/officeDocument/2006/relationships/image" Target="../media/image5.png" />
  <Relationship Id="rId1" Type="http://schemas.openxmlformats.org/officeDocument/2006/relationships/slideMaster" Target="../slideMasters/slideMaster1.xml" />
</Relationships>
</file>

<file path=ppt/slideLayouts/_rels/slideLayout48.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49.xml.rels>&#65279;<?xml version="1.0" encoding="UTF-8" standalone="yes"?>
<Relationships xmlns="http://schemas.openxmlformats.org/package/2006/relationships">
  <Relationship Id="rId3" Type="http://schemas.openxmlformats.org/officeDocument/2006/relationships/image" Target="../media/image6.svg" />
  <Relationship Id="rId2" Type="http://schemas.openxmlformats.org/officeDocument/2006/relationships/image" Target="../media/image5.png" />
  <Relationship Id="rId1" Type="http://schemas.openxmlformats.org/officeDocument/2006/relationships/slideMaster" Target="../slideMasters/slideMaster1.xml" />
</Relationships>
</file>

<file path=ppt/slideLayouts/_rels/slideLayout5.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5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51.xml.rels>&#65279;<?xml version="1.0" encoding="UTF-8" standalone="yes"?>
<Relationships xmlns="http://schemas.openxmlformats.org/package/2006/relationships">
  <Relationship Id="rId3" Type="http://schemas.openxmlformats.org/officeDocument/2006/relationships/image" Target="../media/image6.svg" />
  <Relationship Id="rId2" Type="http://schemas.openxmlformats.org/officeDocument/2006/relationships/image" Target="../media/image5.png" />
  <Relationship Id="rId1" Type="http://schemas.openxmlformats.org/officeDocument/2006/relationships/slideMaster" Target="../slideMasters/slideMaster1.xml" />
</Relationships>
</file>

<file path=ppt/slideLayouts/_rels/slideLayout5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5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54.xml.rels>&#65279;<?xml version="1.0" encoding="UTF-8" standalone="yes"?>
<Relationships xmlns="http://schemas.openxmlformats.org/package/2006/relationships">
  <Relationship Id="rId3" Type="http://schemas.openxmlformats.org/officeDocument/2006/relationships/image" Target="../media/image2.svg" />
  <Relationship Id="rId2" Type="http://schemas.openxmlformats.org/officeDocument/2006/relationships/image" Target="../media/image1.png" />
  <Relationship Id="rId1" Type="http://schemas.openxmlformats.org/officeDocument/2006/relationships/slideMaster" Target="../slideMasters/slideMaster1.xml" />
</Relationships>
</file>

<file path=ppt/slideLayouts/_rels/slideLayout55.xml.rels>&#65279;<?xml version="1.0" encoding="UTF-8" standalone="yes"?>
<Relationships xmlns="http://schemas.openxmlformats.org/package/2006/relationships">
  <Relationship Id="rId3" Type="http://schemas.openxmlformats.org/officeDocument/2006/relationships/image" Target="../media/image2.svg" />
  <Relationship Id="rId2" Type="http://schemas.openxmlformats.org/officeDocument/2006/relationships/image" Target="../media/image1.png" />
  <Relationship Id="rId1" Type="http://schemas.openxmlformats.org/officeDocument/2006/relationships/slideMaster" Target="../slideMasters/slideMaster1.xml" />
</Relationships>
</file>

<file path=ppt/slideLayouts/_rels/slideLayout56.xml.rels>&#65279;<?xml version="1.0" encoding="UTF-8" standalone="yes"?>
<Relationships xmlns="http://schemas.openxmlformats.org/package/2006/relationships">
  <Relationship Id="rId3" Type="http://schemas.openxmlformats.org/officeDocument/2006/relationships/image" Target="../media/image2.svg" />
  <Relationship Id="rId2" Type="http://schemas.openxmlformats.org/officeDocument/2006/relationships/image" Target="../media/image1.png" />
  <Relationship Id="rId1" Type="http://schemas.openxmlformats.org/officeDocument/2006/relationships/slideMaster" Target="../slideMasters/slideMaster1.xml" />
</Relationships>
</file>

<file path=ppt/slideLayouts/_rels/slideLayout57.xml.rels>&#65279;<?xml version="1.0" encoding="UTF-8" standalone="yes"?>
<Relationships xmlns="http://schemas.openxmlformats.org/package/2006/relationships">
  <Relationship Id="rId2" Type="http://schemas.openxmlformats.org/officeDocument/2006/relationships/image" Target="../media/image7.png" />
  <Relationship Id="rId1" Type="http://schemas.openxmlformats.org/officeDocument/2006/relationships/slideMaster" Target="../slideMasters/slideMaster1.xml" />
</Relationships>
</file>

<file path=ppt/slideLayouts/_rels/slideLayout58.xml.rels>&#65279;<?xml version="1.0" encoding="UTF-8" standalone="yes"?>
<Relationships xmlns="http://schemas.openxmlformats.org/package/2006/relationships">
  <Relationship Id="rId2" Type="http://schemas.openxmlformats.org/officeDocument/2006/relationships/image" Target="../media/image8.png" />
  <Relationship Id="rId1" Type="http://schemas.openxmlformats.org/officeDocument/2006/relationships/slideMaster" Target="../slideMasters/slideMaster1.xml" />
</Relationships>
</file>

<file path=ppt/slideLayouts/_rels/slideLayout59.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5.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6.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7.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8.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9.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7.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7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8.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9.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userDrawn="1">
            <p:ph type="dt" sz="half" idx="10"/>
          </p:nvPr>
        </p:nvSpPr>
        <p:spPr>
          <a:xfrm>
            <a:off x="719138" y="4653512"/>
            <a:ext cx="1655715"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userDrawn="1">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userDrawn="1">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08D0C1AC-DB08-43CD-AC26-CF417079F7D7}"/>
              </a:ext>
            </a:extLst>
          </p:cNvPr>
          <p:cNvSpPr/>
          <p:nvPr/>
        </p:nvSpPr>
        <p:spPr>
          <a:xfrm>
            <a:off x="0" y="8335"/>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A095166-32E5-42E9-83A1-AD237E1F5588}"/>
              </a:ext>
            </a:extLst>
          </p:cNvPr>
          <p:cNvSpPr/>
          <p:nvPr/>
        </p:nvSpPr>
        <p:spPr>
          <a:xfrm>
            <a:off x="9082622" y="1746273"/>
            <a:ext cx="3109379" cy="4479053"/>
          </a:xfrm>
          <a:custGeom>
            <a:avLst/>
            <a:gdLst>
              <a:gd name="connsiteX0" fmla="*/ 133363 w 3109379"/>
              <a:gd name="connsiteY0" fmla="*/ 0 h 4479053"/>
              <a:gd name="connsiteX1" fmla="*/ 1912063 w 3109379"/>
              <a:gd name="connsiteY1" fmla="*/ 0 h 4479053"/>
              <a:gd name="connsiteX2" fmla="*/ 2044359 w 3109379"/>
              <a:gd name="connsiteY2" fmla="*/ 116544 h 4479053"/>
              <a:gd name="connsiteX3" fmla="*/ 2073638 w 3109379"/>
              <a:gd name="connsiteY3" fmla="*/ 660203 h 4479053"/>
              <a:gd name="connsiteX4" fmla="*/ 3028725 w 3109379"/>
              <a:gd name="connsiteY4" fmla="*/ 3954882 h 4479053"/>
              <a:gd name="connsiteX5" fmla="*/ 3109379 w 3109379"/>
              <a:gd name="connsiteY5" fmla="*/ 4060781 h 4479053"/>
              <a:gd name="connsiteX6" fmla="*/ 3109379 w 3109379"/>
              <a:gd name="connsiteY6" fmla="*/ 4479053 h 4479053"/>
              <a:gd name="connsiteX7" fmla="*/ 3086052 w 3109379"/>
              <a:gd name="connsiteY7" fmla="*/ 4453039 h 4479053"/>
              <a:gd name="connsiteX8" fmla="*/ 2938406 w 3109379"/>
              <a:gd name="connsiteY8" fmla="*/ 4273886 h 4479053"/>
              <a:gd name="connsiteX9" fmla="*/ 2172651 w 3109379"/>
              <a:gd name="connsiteY9" fmla="*/ 2924999 h 4479053"/>
              <a:gd name="connsiteX10" fmla="*/ 1806996 w 3109379"/>
              <a:gd name="connsiteY10" fmla="*/ 667133 h 4479053"/>
              <a:gd name="connsiteX11" fmla="*/ 1791103 w 3109379"/>
              <a:gd name="connsiteY11" fmla="*/ 266725 h 4479053"/>
              <a:gd name="connsiteX12" fmla="*/ 133363 w 3109379"/>
              <a:gd name="connsiteY12" fmla="*/ 266725 h 4479053"/>
              <a:gd name="connsiteX13" fmla="*/ 0 w 3109379"/>
              <a:gd name="connsiteY13" fmla="*/ 133363 h 4479053"/>
              <a:gd name="connsiteX14" fmla="*/ 133363 w 3109379"/>
              <a:gd name="connsiteY14" fmla="*/ 0 h 447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9379" h="4479053">
                <a:moveTo>
                  <a:pt x="133363" y="0"/>
                </a:moveTo>
                <a:lnTo>
                  <a:pt x="1912063" y="0"/>
                </a:lnTo>
                <a:cubicBezTo>
                  <a:pt x="1979214" y="0"/>
                  <a:pt x="2035891" y="49929"/>
                  <a:pt x="2044359" y="116544"/>
                </a:cubicBezTo>
                <a:cubicBezTo>
                  <a:pt x="2063397" y="266291"/>
                  <a:pt x="2068143" y="448836"/>
                  <a:pt x="2073638" y="660203"/>
                </a:cubicBezTo>
                <a:cubicBezTo>
                  <a:pt x="2095201" y="1489639"/>
                  <a:pt x="2127205" y="2720705"/>
                  <a:pt x="3028725" y="3954882"/>
                </a:cubicBezTo>
                <a:lnTo>
                  <a:pt x="3109379" y="4060781"/>
                </a:lnTo>
                <a:lnTo>
                  <a:pt x="3109379" y="4479053"/>
                </a:lnTo>
                <a:lnTo>
                  <a:pt x="3086052" y="4453039"/>
                </a:lnTo>
                <a:cubicBezTo>
                  <a:pt x="3035183" y="4393895"/>
                  <a:pt x="2985959" y="4334170"/>
                  <a:pt x="2938406" y="4273886"/>
                </a:cubicBezTo>
                <a:cubicBezTo>
                  <a:pt x="2615252" y="3866347"/>
                  <a:pt x="2356959" y="3411359"/>
                  <a:pt x="2172651" y="2924999"/>
                </a:cubicBezTo>
                <a:cubicBezTo>
                  <a:pt x="1842928" y="2049115"/>
                  <a:pt x="1822159" y="1250360"/>
                  <a:pt x="1806996" y="667133"/>
                </a:cubicBezTo>
                <a:cubicBezTo>
                  <a:pt x="1803094" y="517020"/>
                  <a:pt x="1799582" y="381953"/>
                  <a:pt x="1791103" y="266725"/>
                </a:cubicBezTo>
                <a:lnTo>
                  <a:pt x="133363" y="266725"/>
                </a:lnTo>
                <a:cubicBezTo>
                  <a:pt x="59708" y="266725"/>
                  <a:pt x="0" y="207017"/>
                  <a:pt x="0" y="133363"/>
                </a:cubicBezTo>
                <a:cubicBezTo>
                  <a:pt x="0" y="59708"/>
                  <a:pt x="59708" y="0"/>
                  <a:pt x="133363" y="0"/>
                </a:cubicBezTo>
                <a:close/>
              </a:path>
            </a:pathLst>
          </a:custGeom>
          <a:solidFill>
            <a:srgbClr val="005C82"/>
          </a:solidFill>
          <a:ln w="1270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529F8AE1-20CF-44F6-BB91-769A89EAC6A4}"/>
              </a:ext>
            </a:extLst>
          </p:cNvPr>
          <p:cNvSpPr/>
          <p:nvPr userDrawn="1"/>
        </p:nvSpPr>
        <p:spPr>
          <a:xfrm>
            <a:off x="5050893" y="0"/>
            <a:ext cx="4385676" cy="2013647"/>
          </a:xfrm>
          <a:custGeom>
            <a:avLst/>
            <a:gdLst>
              <a:gd name="connsiteX0" fmla="*/ 0 w 4385676"/>
              <a:gd name="connsiteY0" fmla="*/ 0 h 2013647"/>
              <a:gd name="connsiteX1" fmla="*/ 322476 w 4385676"/>
              <a:gd name="connsiteY1" fmla="*/ 0 h 2013647"/>
              <a:gd name="connsiteX2" fmla="*/ 382850 w 4385676"/>
              <a:gd name="connsiteY2" fmla="*/ 87045 h 2013647"/>
              <a:gd name="connsiteX3" fmla="*/ 2026201 w 4385676"/>
              <a:gd name="connsiteY3" fmla="*/ 1365797 h 2013647"/>
              <a:gd name="connsiteX4" fmla="*/ 4251339 w 4385676"/>
              <a:gd name="connsiteY4" fmla="*/ 1746706 h 2013647"/>
              <a:gd name="connsiteX5" fmla="*/ 4385673 w 4385676"/>
              <a:gd name="connsiteY5" fmla="*/ 1879097 h 2013647"/>
              <a:gd name="connsiteX6" fmla="*/ 4253282 w 4385676"/>
              <a:gd name="connsiteY6" fmla="*/ 2013431 h 2013647"/>
              <a:gd name="connsiteX7" fmla="*/ 4193287 w 4385676"/>
              <a:gd name="connsiteY7" fmla="*/ 2013647 h 2013647"/>
              <a:gd name="connsiteX8" fmla="*/ 1924855 w 4385676"/>
              <a:gd name="connsiteY8" fmla="*/ 1612527 h 2013647"/>
              <a:gd name="connsiteX9" fmla="*/ 27862 w 4385676"/>
              <a:gd name="connsiteY9" fmla="*/ 45293 h 2013647"/>
              <a:gd name="connsiteX10" fmla="*/ 0 w 4385676"/>
              <a:gd name="connsiteY10" fmla="*/ 0 h 20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5676" h="2013647">
                <a:moveTo>
                  <a:pt x="0" y="0"/>
                </a:moveTo>
                <a:lnTo>
                  <a:pt x="322476" y="0"/>
                </a:lnTo>
                <a:lnTo>
                  <a:pt x="382850" y="87045"/>
                </a:lnTo>
                <a:cubicBezTo>
                  <a:pt x="807526" y="662942"/>
                  <a:pt x="1356643" y="1090795"/>
                  <a:pt x="2026201" y="1365797"/>
                </a:cubicBezTo>
                <a:cubicBezTo>
                  <a:pt x="2656615" y="1624715"/>
                  <a:pt x="3405283" y="1752930"/>
                  <a:pt x="4251339" y="1746706"/>
                </a:cubicBezTo>
                <a:cubicBezTo>
                  <a:pt x="4324994" y="1746170"/>
                  <a:pt x="4385137" y="1805443"/>
                  <a:pt x="4385673" y="1879097"/>
                </a:cubicBezTo>
                <a:cubicBezTo>
                  <a:pt x="4386210" y="1952752"/>
                  <a:pt x="4326936" y="2012895"/>
                  <a:pt x="4253282" y="2013431"/>
                </a:cubicBezTo>
                <a:cubicBezTo>
                  <a:pt x="4233262" y="2013569"/>
                  <a:pt x="4213210" y="2013647"/>
                  <a:pt x="4193287" y="2013647"/>
                </a:cubicBezTo>
                <a:cubicBezTo>
                  <a:pt x="3336002" y="2013647"/>
                  <a:pt x="2573148" y="1878784"/>
                  <a:pt x="1924855" y="1612527"/>
                </a:cubicBezTo>
                <a:cubicBezTo>
                  <a:pt x="1131246" y="1286568"/>
                  <a:pt x="496966" y="761828"/>
                  <a:pt x="27862" y="45293"/>
                </a:cubicBezTo>
                <a:lnTo>
                  <a:pt x="0" y="0"/>
                </a:lnTo>
                <a:close/>
              </a:path>
            </a:pathLst>
          </a:custGeom>
          <a:solidFill>
            <a:srgbClr val="9EDED4"/>
          </a:solidFill>
          <a:ln w="12700" cap="flat">
            <a:noFill/>
            <a:prstDash val="solid"/>
            <a:miter/>
          </a:ln>
        </p:spPr>
        <p:txBody>
          <a:bodyPr rtlCol="0" anchor="ctr"/>
          <a:lstStyle/>
          <a:p>
            <a:endParaRPr lang="en-GB"/>
          </a:p>
        </p:txBody>
      </p:sp>
      <p:sp>
        <p:nvSpPr>
          <p:cNvPr id="27" name="Picture Placeholder 1">
            <a:extLst>
              <a:ext uri="{FF2B5EF4-FFF2-40B4-BE49-F238E27FC236}">
                <a16:creationId xmlns:a16="http://schemas.microsoft.com/office/drawing/2014/main" id="{58796B95-BF41-4F4C-A925-88BB4F6B8DDC}"/>
              </a:ext>
            </a:extLst>
          </p:cNvPr>
          <p:cNvSpPr>
            <a:spLocks noGrp="1"/>
          </p:cNvSpPr>
          <p:nvPr userDrawn="1">
            <p:ph type="pic" sz="quarter" idx="11"/>
          </p:nvPr>
        </p:nvSpPr>
        <p:spPr>
          <a:xfrm>
            <a:off x="7096125" y="719138"/>
            <a:ext cx="4376737" cy="5418137"/>
          </a:xfrm>
        </p:spPr>
        <p:txBody>
          <a:bodyPr/>
          <a:lstStyle/>
          <a:p>
            <a:r>
              <a:rPr lang="en-US"/>
              <a:t>Click icon to add picture</a:t>
            </a:r>
            <a:endParaRPr lang="en-GB" dirty="0"/>
          </a:p>
        </p:txBody>
      </p:sp>
    </p:spTree>
    <p:extLst>
      <p:ext uri="{BB962C8B-B14F-4D97-AF65-F5344CB8AC3E}">
        <p14:creationId xmlns:p14="http://schemas.microsoft.com/office/powerpoint/2010/main" val="1609420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84091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grpSp>
        <p:nvGrpSpPr>
          <p:cNvPr id="24" name="Group 23">
            <a:extLst>
              <a:ext uri="{FF2B5EF4-FFF2-40B4-BE49-F238E27FC236}">
                <a16:creationId xmlns:a16="http://schemas.microsoft.com/office/drawing/2014/main" id="{1F6D1870-CBAC-40FE-93C3-CEC6F8B5FC5C}"/>
              </a:ext>
            </a:extLst>
          </p:cNvPr>
          <p:cNvGrpSpPr/>
          <p:nvPr userDrawn="1"/>
        </p:nvGrpSpPr>
        <p:grpSpPr>
          <a:xfrm>
            <a:off x="10733882" y="0"/>
            <a:ext cx="1458118" cy="4629473"/>
            <a:chOff x="10733882" y="0"/>
            <a:chExt cx="1458118" cy="4629473"/>
          </a:xfrm>
        </p:grpSpPr>
        <p:sp>
          <p:nvSpPr>
            <p:cNvPr id="23" name="Freeform: Shape 22">
              <a:extLst>
                <a:ext uri="{FF2B5EF4-FFF2-40B4-BE49-F238E27FC236}">
                  <a16:creationId xmlns:a16="http://schemas.microsoft.com/office/drawing/2014/main" id="{7FA73F1C-0C77-460E-8713-00D68890376A}"/>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8F300F0-88EC-4B44-8816-B3D1834130B0}"/>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878786654"/>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5228182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2736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2" name="Freeform: Shape 21">
            <a:extLst>
              <a:ext uri="{FF2B5EF4-FFF2-40B4-BE49-F238E27FC236}">
                <a16:creationId xmlns:a16="http://schemas.microsoft.com/office/drawing/2014/main" id="{2EED502E-C7AA-4CAB-8C16-D9B1E95B4C90}"/>
              </a:ext>
            </a:extLst>
          </p:cNvPr>
          <p:cNvSpPr/>
          <p:nvPr userDrawn="1"/>
        </p:nvSpPr>
        <p:spPr>
          <a:xfrm>
            <a:off x="10849636" y="4991211"/>
            <a:ext cx="1342365" cy="795586"/>
          </a:xfrm>
          <a:custGeom>
            <a:avLst/>
            <a:gdLst>
              <a:gd name="connsiteX0" fmla="*/ 1342365 w 1342365"/>
              <a:gd name="connsiteY0" fmla="*/ 0 h 795586"/>
              <a:gd name="connsiteX1" fmla="*/ 1342365 w 1342365"/>
              <a:gd name="connsiteY1" fmla="*/ 310659 h 795586"/>
              <a:gd name="connsiteX2" fmla="*/ 1175229 w 1342365"/>
              <a:gd name="connsiteY2" fmla="*/ 404301 h 795586"/>
              <a:gd name="connsiteX3" fmla="*/ 166319 w 1342365"/>
              <a:gd name="connsiteY3" fmla="*/ 791416 h 795586"/>
              <a:gd name="connsiteX4" fmla="*/ 133252 w 1342365"/>
              <a:gd name="connsiteY4" fmla="*/ 795586 h 795586"/>
              <a:gd name="connsiteX5" fmla="*/ 0 w 1342365"/>
              <a:gd name="connsiteY5" fmla="*/ 662105 h 795586"/>
              <a:gd name="connsiteX6" fmla="*/ 100375 w 1342365"/>
              <a:gd name="connsiteY6" fmla="*/ 532998 h 795586"/>
              <a:gd name="connsiteX7" fmla="*/ 1277902 w 1342365"/>
              <a:gd name="connsiteY7" fmla="*/ 41089 h 795586"/>
              <a:gd name="connsiteX8" fmla="*/ 1342365 w 1342365"/>
              <a:gd name="connsiteY8" fmla="*/ 0 h 79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365" h="795586">
                <a:moveTo>
                  <a:pt x="1342365" y="0"/>
                </a:moveTo>
                <a:lnTo>
                  <a:pt x="1342365" y="310659"/>
                </a:lnTo>
                <a:lnTo>
                  <a:pt x="1175229" y="404301"/>
                </a:lnTo>
                <a:cubicBezTo>
                  <a:pt x="853625" y="572605"/>
                  <a:pt x="516572" y="702036"/>
                  <a:pt x="166319" y="791416"/>
                </a:cubicBezTo>
                <a:cubicBezTo>
                  <a:pt x="155514" y="794180"/>
                  <a:pt x="144405" y="795581"/>
                  <a:pt x="133252" y="795586"/>
                </a:cubicBezTo>
                <a:cubicBezTo>
                  <a:pt x="59596" y="795522"/>
                  <a:pt x="-63" y="735761"/>
                  <a:pt x="0" y="662105"/>
                </a:cubicBezTo>
                <a:cubicBezTo>
                  <a:pt x="52" y="601198"/>
                  <a:pt x="41361" y="548065"/>
                  <a:pt x="100375" y="532998"/>
                </a:cubicBezTo>
                <a:cubicBezTo>
                  <a:pt x="513437" y="427588"/>
                  <a:pt x="907329" y="262895"/>
                  <a:pt x="1277902" y="41089"/>
                </a:cubicBezTo>
                <a:lnTo>
                  <a:pt x="1342365" y="0"/>
                </a:lnTo>
                <a:close/>
              </a:path>
            </a:pathLst>
          </a:custGeom>
          <a:solidFill>
            <a:srgbClr val="005C8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347DFF4-3BA3-4254-8FCD-6F3D10FE181D}"/>
              </a:ext>
            </a:extLst>
          </p:cNvPr>
          <p:cNvSpPr/>
          <p:nvPr userDrawn="1"/>
        </p:nvSpPr>
        <p:spPr>
          <a:xfrm>
            <a:off x="6242805" y="4837629"/>
            <a:ext cx="4856836" cy="2019647"/>
          </a:xfrm>
          <a:custGeom>
            <a:avLst/>
            <a:gdLst>
              <a:gd name="connsiteX0" fmla="*/ 414366 w 4856836"/>
              <a:gd name="connsiteY0" fmla="*/ 2013 h 2019647"/>
              <a:gd name="connsiteX1" fmla="*/ 506569 w 4856836"/>
              <a:gd name="connsiteY1" fmla="*/ 19315 h 2019647"/>
              <a:gd name="connsiteX2" fmla="*/ 1793206 w 4856836"/>
              <a:gd name="connsiteY2" fmla="*/ 563337 h 2019647"/>
              <a:gd name="connsiteX3" fmla="*/ 4690854 w 4856836"/>
              <a:gd name="connsiteY3" fmla="*/ 694325 h 2019647"/>
              <a:gd name="connsiteX4" fmla="*/ 4852759 w 4856836"/>
              <a:gd name="connsiteY4" fmla="*/ 791034 h 2019647"/>
              <a:gd name="connsiteX5" fmla="*/ 4756049 w 4856836"/>
              <a:gd name="connsiteY5" fmla="*/ 952939 h 2019647"/>
              <a:gd name="connsiteX6" fmla="*/ 3105915 w 4856836"/>
              <a:gd name="connsiteY6" fmla="*/ 1085146 h 2019647"/>
              <a:gd name="connsiteX7" fmla="*/ 1707916 w 4856836"/>
              <a:gd name="connsiteY7" fmla="*/ 816157 h 2019647"/>
              <a:gd name="connsiteX8" fmla="*/ 605961 w 4856836"/>
              <a:gd name="connsiteY8" fmla="*/ 376370 h 2019647"/>
              <a:gd name="connsiteX9" fmla="*/ 398316 w 4856836"/>
              <a:gd name="connsiteY9" fmla="*/ 1833149 h 2019647"/>
              <a:gd name="connsiteX10" fmla="*/ 316644 w 4856836"/>
              <a:gd name="connsiteY10" fmla="*/ 2001258 h 2019647"/>
              <a:gd name="connsiteX11" fmla="*/ 305914 w 4856836"/>
              <a:gd name="connsiteY11" fmla="*/ 2019647 h 2019647"/>
              <a:gd name="connsiteX12" fmla="*/ 0 w 4856836"/>
              <a:gd name="connsiteY12" fmla="*/ 2019647 h 2019647"/>
              <a:gd name="connsiteX13" fmla="*/ 34107 w 4856836"/>
              <a:gd name="connsiteY13" fmla="*/ 1967301 h 2019647"/>
              <a:gd name="connsiteX14" fmla="*/ 306107 w 4856836"/>
              <a:gd name="connsiteY14" fmla="*/ 156429 h 2019647"/>
              <a:gd name="connsiteX15" fmla="*/ 414366 w 4856836"/>
              <a:gd name="connsiteY15" fmla="*/ 2013 h 20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6836" h="2019647">
                <a:moveTo>
                  <a:pt x="414366" y="2013"/>
                </a:moveTo>
                <a:cubicBezTo>
                  <a:pt x="446182" y="-3578"/>
                  <a:pt x="478945" y="2570"/>
                  <a:pt x="506569" y="19315"/>
                </a:cubicBezTo>
                <a:cubicBezTo>
                  <a:pt x="511580" y="22341"/>
                  <a:pt x="1022667" y="328729"/>
                  <a:pt x="1793206" y="563337"/>
                </a:cubicBezTo>
                <a:cubicBezTo>
                  <a:pt x="2499326" y="778333"/>
                  <a:pt x="3575224" y="975573"/>
                  <a:pt x="4690854" y="694325"/>
                </a:cubicBezTo>
                <a:cubicBezTo>
                  <a:pt x="4762268" y="676322"/>
                  <a:pt x="4834755" y="719620"/>
                  <a:pt x="4852759" y="791034"/>
                </a:cubicBezTo>
                <a:cubicBezTo>
                  <a:pt x="4870763" y="862449"/>
                  <a:pt x="4827464" y="934936"/>
                  <a:pt x="4756049" y="952939"/>
                </a:cubicBezTo>
                <a:cubicBezTo>
                  <a:pt x="4235065" y="1084273"/>
                  <a:pt x="3679881" y="1128760"/>
                  <a:pt x="3105915" y="1085146"/>
                </a:cubicBezTo>
                <a:cubicBezTo>
                  <a:pt x="2631446" y="1047130"/>
                  <a:pt x="2162615" y="956922"/>
                  <a:pt x="1707916" y="816157"/>
                </a:cubicBezTo>
                <a:cubicBezTo>
                  <a:pt x="1328864" y="700870"/>
                  <a:pt x="960233" y="553751"/>
                  <a:pt x="605961" y="376370"/>
                </a:cubicBezTo>
                <a:cubicBezTo>
                  <a:pt x="660472" y="906557"/>
                  <a:pt x="590920" y="1395545"/>
                  <a:pt x="398316" y="1833149"/>
                </a:cubicBezTo>
                <a:cubicBezTo>
                  <a:pt x="373170" y="1890349"/>
                  <a:pt x="345917" y="1946419"/>
                  <a:pt x="316644" y="2001258"/>
                </a:cubicBezTo>
                <a:lnTo>
                  <a:pt x="305914" y="2019647"/>
                </a:lnTo>
                <a:lnTo>
                  <a:pt x="0" y="2019647"/>
                </a:lnTo>
                <a:lnTo>
                  <a:pt x="34107" y="1967301"/>
                </a:lnTo>
                <a:cubicBezTo>
                  <a:pt x="329331" y="1471210"/>
                  <a:pt x="427687" y="848162"/>
                  <a:pt x="306107" y="156429"/>
                </a:cubicBezTo>
                <a:cubicBezTo>
                  <a:pt x="293361" y="83893"/>
                  <a:pt x="341830" y="14759"/>
                  <a:pt x="414366" y="2013"/>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5357593"/>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455454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020301" cy="720000"/>
          </a:xfrm>
        </p:spPr>
        <p:txBody>
          <a:body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4ED4FA2E-BB61-419C-9C40-ADC558A0472A}"/>
              </a:ext>
            </a:extLst>
          </p:cNvPr>
          <p:cNvGrpSpPr/>
          <p:nvPr userDrawn="1"/>
        </p:nvGrpSpPr>
        <p:grpSpPr>
          <a:xfrm>
            <a:off x="10733882" y="0"/>
            <a:ext cx="1458118" cy="4629473"/>
            <a:chOff x="10733882" y="0"/>
            <a:chExt cx="1458118" cy="4629473"/>
          </a:xfrm>
        </p:grpSpPr>
        <p:sp>
          <p:nvSpPr>
            <p:cNvPr id="20" name="Freeform: Shape 19">
              <a:extLst>
                <a:ext uri="{FF2B5EF4-FFF2-40B4-BE49-F238E27FC236}">
                  <a16:creationId xmlns:a16="http://schemas.microsoft.com/office/drawing/2014/main" id="{3E5198A0-3E34-4A3C-BF63-5B0BE0A7CDD5}"/>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A421163C-FF91-4CA0-9AA0-81D8F30EC95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73912678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5273675"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1" name="Freeform: Shape 10">
            <a:extLst>
              <a:ext uri="{FF2B5EF4-FFF2-40B4-BE49-F238E27FC236}">
                <a16:creationId xmlns:a16="http://schemas.microsoft.com/office/drawing/2014/main" id="{91F8207E-FBEF-454B-A804-A68BB4023C31}"/>
              </a:ext>
            </a:extLst>
          </p:cNvPr>
          <p:cNvSpPr/>
          <p:nvPr/>
        </p:nvSpPr>
        <p:spPr>
          <a:xfrm>
            <a:off x="2" y="-1"/>
            <a:ext cx="12193204" cy="6857999"/>
          </a:xfrm>
          <a:custGeom>
            <a:avLst/>
            <a:gdLst>
              <a:gd name="connsiteX0" fmla="*/ 0 w 12193204"/>
              <a:gd name="connsiteY0" fmla="*/ 0 h 6857999"/>
              <a:gd name="connsiteX1" fmla="*/ 12193204 w 12193204"/>
              <a:gd name="connsiteY1" fmla="*/ 0 h 6857999"/>
              <a:gd name="connsiteX2" fmla="*/ 12193204 w 12193204"/>
              <a:gd name="connsiteY2" fmla="*/ 6857999 h 6857999"/>
              <a:gd name="connsiteX3" fmla="*/ 0 w 1219320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204" h="6857999">
                <a:moveTo>
                  <a:pt x="0" y="0"/>
                </a:moveTo>
                <a:lnTo>
                  <a:pt x="12193204" y="0"/>
                </a:lnTo>
                <a:lnTo>
                  <a:pt x="12193204" y="6857999"/>
                </a:lnTo>
                <a:lnTo>
                  <a:pt x="0" y="6857999"/>
                </a:lnTo>
                <a:close/>
              </a:path>
            </a:pathLst>
          </a:custGeom>
          <a:noFill/>
          <a:ln w="1269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7397474-9EF1-4786-9F3A-D567C56BA18F}"/>
              </a:ext>
            </a:extLst>
          </p:cNvPr>
          <p:cNvSpPr/>
          <p:nvPr/>
        </p:nvSpPr>
        <p:spPr>
          <a:xfrm>
            <a:off x="8756757" y="-736501"/>
            <a:ext cx="82489" cy="51643"/>
          </a:xfrm>
          <a:custGeom>
            <a:avLst/>
            <a:gdLst>
              <a:gd name="connsiteX0" fmla="*/ 82489 w 82489"/>
              <a:gd name="connsiteY0" fmla="*/ 0 h 51643"/>
              <a:gd name="connsiteX1" fmla="*/ 0 w 82489"/>
              <a:gd name="connsiteY1" fmla="*/ 51643 h 51643"/>
              <a:gd name="connsiteX2" fmla="*/ 82489 w 82489"/>
              <a:gd name="connsiteY2" fmla="*/ 0 h 51643"/>
            </a:gdLst>
            <a:ahLst/>
            <a:cxnLst>
              <a:cxn ang="0">
                <a:pos x="connsiteX0" y="connsiteY0"/>
              </a:cxn>
              <a:cxn ang="0">
                <a:pos x="connsiteX1" y="connsiteY1"/>
              </a:cxn>
              <a:cxn ang="0">
                <a:pos x="connsiteX2" y="connsiteY2"/>
              </a:cxn>
            </a:cxnLst>
            <a:rect l="l" t="t" r="r" b="b"/>
            <a:pathLst>
              <a:path w="82489" h="51643">
                <a:moveTo>
                  <a:pt x="82489" y="0"/>
                </a:moveTo>
                <a:cubicBezTo>
                  <a:pt x="49468" y="6207"/>
                  <a:pt x="20008" y="24651"/>
                  <a:pt x="0" y="51643"/>
                </a:cubicBezTo>
                <a:cubicBezTo>
                  <a:pt x="19980" y="24621"/>
                  <a:pt x="49453" y="6169"/>
                  <a:pt x="82489" y="0"/>
                </a:cubicBezTo>
                <a:close/>
              </a:path>
            </a:pathLst>
          </a:custGeom>
          <a:solidFill>
            <a:schemeClr val="accent3"/>
          </a:solidFill>
          <a:ln w="1269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6AB145D-04C3-4FAE-BE8F-88061D87C676}"/>
              </a:ext>
            </a:extLst>
          </p:cNvPr>
          <p:cNvSpPr/>
          <p:nvPr/>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3088278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005513" y="719138"/>
            <a:ext cx="5465761" cy="5418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1"/>
            <a:ext cx="4546330" cy="363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900"/>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1" name="Freeform: Shape 10">
            <a:extLst>
              <a:ext uri="{FF2B5EF4-FFF2-40B4-BE49-F238E27FC236}">
                <a16:creationId xmlns:a16="http://schemas.microsoft.com/office/drawing/2014/main" id="{CBAB1041-563D-407D-B771-F7CA3C6ADD0E}"/>
              </a:ext>
            </a:extLst>
          </p:cNvPr>
          <p:cNvSpPr/>
          <p:nvPr/>
        </p:nvSpPr>
        <p:spPr>
          <a:xfrm>
            <a:off x="-1" y="-1590"/>
            <a:ext cx="12196027" cy="6859587"/>
          </a:xfrm>
          <a:custGeom>
            <a:avLst/>
            <a:gdLst>
              <a:gd name="connsiteX0" fmla="*/ 0 w 12196027"/>
              <a:gd name="connsiteY0" fmla="*/ 0 h 6859587"/>
              <a:gd name="connsiteX1" fmla="*/ 12196027 w 12196027"/>
              <a:gd name="connsiteY1" fmla="*/ 0 h 6859587"/>
              <a:gd name="connsiteX2" fmla="*/ 12196027 w 12196027"/>
              <a:gd name="connsiteY2" fmla="*/ 6859587 h 6859587"/>
              <a:gd name="connsiteX3" fmla="*/ 0 w 12196027"/>
              <a:gd name="connsiteY3" fmla="*/ 6859587 h 6859587"/>
            </a:gdLst>
            <a:ahLst/>
            <a:cxnLst>
              <a:cxn ang="0">
                <a:pos x="connsiteX0" y="connsiteY0"/>
              </a:cxn>
              <a:cxn ang="0">
                <a:pos x="connsiteX1" y="connsiteY1"/>
              </a:cxn>
              <a:cxn ang="0">
                <a:pos x="connsiteX2" y="connsiteY2"/>
              </a:cxn>
              <a:cxn ang="0">
                <a:pos x="connsiteX3" y="connsiteY3"/>
              </a:cxn>
            </a:cxnLst>
            <a:rect l="l" t="t" r="r" b="b"/>
            <a:pathLst>
              <a:path w="12196027" h="6859587">
                <a:moveTo>
                  <a:pt x="0" y="0"/>
                </a:moveTo>
                <a:lnTo>
                  <a:pt x="12196027" y="0"/>
                </a:lnTo>
                <a:lnTo>
                  <a:pt x="12196027" y="6859587"/>
                </a:lnTo>
                <a:lnTo>
                  <a:pt x="0" y="6859587"/>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065A25C6-22C3-4470-8B3F-33557246929E}"/>
              </a:ext>
            </a:extLst>
          </p:cNvPr>
          <p:cNvSpPr/>
          <p:nvPr/>
        </p:nvSpPr>
        <p:spPr>
          <a:xfrm>
            <a:off x="5503374" y="1946274"/>
            <a:ext cx="266762" cy="4911726"/>
          </a:xfrm>
          <a:custGeom>
            <a:avLst/>
            <a:gdLst>
              <a:gd name="connsiteX0" fmla="*/ 133381 w 266762"/>
              <a:gd name="connsiteY0" fmla="*/ 0 h 4911726"/>
              <a:gd name="connsiteX1" fmla="*/ 266762 w 266762"/>
              <a:gd name="connsiteY1" fmla="*/ 133381 h 4911726"/>
              <a:gd name="connsiteX2" fmla="*/ 266762 w 266762"/>
              <a:gd name="connsiteY2" fmla="*/ 4911726 h 4911726"/>
              <a:gd name="connsiteX3" fmla="*/ 0 w 266762"/>
              <a:gd name="connsiteY3" fmla="*/ 4911726 h 4911726"/>
              <a:gd name="connsiteX4" fmla="*/ 0 w 266762"/>
              <a:gd name="connsiteY4" fmla="*/ 133381 h 4911726"/>
              <a:gd name="connsiteX5" fmla="*/ 133381 w 266762"/>
              <a:gd name="connsiteY5" fmla="*/ 0 h 491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62" h="4911726">
                <a:moveTo>
                  <a:pt x="133381" y="0"/>
                </a:moveTo>
                <a:cubicBezTo>
                  <a:pt x="207045" y="0"/>
                  <a:pt x="266762" y="59717"/>
                  <a:pt x="266762" y="133381"/>
                </a:cubicBezTo>
                <a:lnTo>
                  <a:pt x="266762" y="4911726"/>
                </a:lnTo>
                <a:lnTo>
                  <a:pt x="0" y="4911726"/>
                </a:lnTo>
                <a:lnTo>
                  <a:pt x="0" y="133381"/>
                </a:lnTo>
                <a:cubicBezTo>
                  <a:pt x="0" y="59717"/>
                  <a:pt x="59717" y="0"/>
                  <a:pt x="133381" y="0"/>
                </a:cubicBezTo>
                <a:close/>
              </a:path>
            </a:pathLst>
          </a:custGeom>
          <a:solidFill>
            <a:srgbClr val="85ABE3"/>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A1E9E8E-09DB-4256-9756-C65C9D868554}"/>
              </a:ext>
            </a:extLst>
          </p:cNvPr>
          <p:cNvSpPr/>
          <p:nvPr/>
        </p:nvSpPr>
        <p:spPr>
          <a:xfrm>
            <a:off x="3724953" y="-1593"/>
            <a:ext cx="2045184" cy="3189946"/>
          </a:xfrm>
          <a:custGeom>
            <a:avLst/>
            <a:gdLst>
              <a:gd name="connsiteX0" fmla="*/ 0 w 2045184"/>
              <a:gd name="connsiteY0" fmla="*/ 0 h 3189946"/>
              <a:gd name="connsiteX1" fmla="*/ 445556 w 2045184"/>
              <a:gd name="connsiteY1" fmla="*/ 0 h 3189946"/>
              <a:gd name="connsiteX2" fmla="*/ 594954 w 2045184"/>
              <a:gd name="connsiteY2" fmla="*/ 99642 h 3189946"/>
              <a:gd name="connsiteX3" fmla="*/ 1136304 w 2045184"/>
              <a:gd name="connsiteY3" fmla="*/ 381519 h 3189946"/>
              <a:gd name="connsiteX4" fmla="*/ 1916778 w 2045184"/>
              <a:gd name="connsiteY4" fmla="*/ 599585 h 3189946"/>
              <a:gd name="connsiteX5" fmla="*/ 2040123 w 2045184"/>
              <a:gd name="connsiteY5" fmla="*/ 732299 h 3189946"/>
              <a:gd name="connsiteX6" fmla="*/ 2045184 w 2045184"/>
              <a:gd name="connsiteY6" fmla="*/ 3056273 h 3189946"/>
              <a:gd name="connsiteX7" fmla="*/ 1912096 w 2045184"/>
              <a:gd name="connsiteY7" fmla="*/ 3189946 h 3189946"/>
              <a:gd name="connsiteX8" fmla="*/ 1912089 w 2045184"/>
              <a:gd name="connsiteY8" fmla="*/ 3189946 h 3189946"/>
              <a:gd name="connsiteX9" fmla="*/ 1911803 w 2045184"/>
              <a:gd name="connsiteY9" fmla="*/ 3189939 h 3189946"/>
              <a:gd name="connsiteX10" fmla="*/ 1778422 w 2045184"/>
              <a:gd name="connsiteY10" fmla="*/ 3056850 h 3189946"/>
              <a:gd name="connsiteX11" fmla="*/ 1773609 w 2045184"/>
              <a:gd name="connsiteY11" fmla="*/ 849325 h 3189946"/>
              <a:gd name="connsiteX12" fmla="*/ 1045038 w 2045184"/>
              <a:gd name="connsiteY12" fmla="*/ 632507 h 3189946"/>
              <a:gd name="connsiteX13" fmla="*/ 18044 w 2045184"/>
              <a:gd name="connsiteY13" fmla="*/ 15567 h 3189946"/>
              <a:gd name="connsiteX14" fmla="*/ 0 w 2045184"/>
              <a:gd name="connsiteY14" fmla="*/ 0 h 318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5184" h="3189946">
                <a:moveTo>
                  <a:pt x="0" y="0"/>
                </a:moveTo>
                <a:lnTo>
                  <a:pt x="445556" y="0"/>
                </a:lnTo>
                <a:lnTo>
                  <a:pt x="594954" y="99642"/>
                </a:lnTo>
                <a:cubicBezTo>
                  <a:pt x="794804" y="224433"/>
                  <a:pt x="979607" y="315591"/>
                  <a:pt x="1136304" y="381519"/>
                </a:cubicBezTo>
                <a:cubicBezTo>
                  <a:pt x="1590148" y="572458"/>
                  <a:pt x="1913565" y="599331"/>
                  <a:pt x="1916778" y="599585"/>
                </a:cubicBezTo>
                <a:cubicBezTo>
                  <a:pt x="1986184" y="604945"/>
                  <a:pt x="2039850" y="662687"/>
                  <a:pt x="2040123" y="732299"/>
                </a:cubicBezTo>
                <a:lnTo>
                  <a:pt x="2045184" y="3056273"/>
                </a:lnTo>
                <a:cubicBezTo>
                  <a:pt x="2045346" y="3129937"/>
                  <a:pt x="1985760" y="3189784"/>
                  <a:pt x="1912096" y="3189946"/>
                </a:cubicBezTo>
                <a:cubicBezTo>
                  <a:pt x="1912093" y="3189946"/>
                  <a:pt x="1912091" y="3189946"/>
                  <a:pt x="1912089" y="3189946"/>
                </a:cubicBezTo>
                <a:lnTo>
                  <a:pt x="1911803" y="3189939"/>
                </a:lnTo>
                <a:cubicBezTo>
                  <a:pt x="1838252" y="3189940"/>
                  <a:pt x="1778583" y="3130400"/>
                  <a:pt x="1778422" y="3056850"/>
                </a:cubicBezTo>
                <a:lnTo>
                  <a:pt x="1773609" y="849325"/>
                </a:lnTo>
                <a:cubicBezTo>
                  <a:pt x="1629212" y="825210"/>
                  <a:pt x="1368505" y="767321"/>
                  <a:pt x="1045038" y="632507"/>
                </a:cubicBezTo>
                <a:cubicBezTo>
                  <a:pt x="764448" y="515561"/>
                  <a:pt x="400282" y="323826"/>
                  <a:pt x="18044" y="15567"/>
                </a:cubicBezTo>
                <a:lnTo>
                  <a:pt x="0" y="0"/>
                </a:lnTo>
                <a:close/>
              </a:path>
            </a:pathLst>
          </a:custGeom>
          <a:solidFill>
            <a:srgbClr val="FFE84C"/>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72559194"/>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Large Righ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916738" y="1565276"/>
            <a:ext cx="4554536"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0"/>
            <a:ext cx="4375150" cy="3115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639"/>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7E4CF89B-9153-40B6-9DAC-F7296DD392CE}"/>
              </a:ext>
            </a:extLst>
          </p:cNvPr>
          <p:cNvSpPr/>
          <p:nvPr/>
        </p:nvSpPr>
        <p:spPr>
          <a:xfrm>
            <a:off x="0" y="0"/>
            <a:ext cx="12193193" cy="6858000"/>
          </a:xfrm>
          <a:custGeom>
            <a:avLst/>
            <a:gdLst>
              <a:gd name="connsiteX0" fmla="*/ 0 w 12193193"/>
              <a:gd name="connsiteY0" fmla="*/ 0 h 6858000"/>
              <a:gd name="connsiteX1" fmla="*/ 12193194 w 12193193"/>
              <a:gd name="connsiteY1" fmla="*/ 0 h 6858000"/>
              <a:gd name="connsiteX2" fmla="*/ 12193194 w 12193193"/>
              <a:gd name="connsiteY2" fmla="*/ 6858000 h 6858000"/>
              <a:gd name="connsiteX3" fmla="*/ 0 w 121931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93" h="6858000">
                <a:moveTo>
                  <a:pt x="0" y="0"/>
                </a:moveTo>
                <a:lnTo>
                  <a:pt x="12193194" y="0"/>
                </a:lnTo>
                <a:lnTo>
                  <a:pt x="12193194"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01CB456-3579-41C9-8C06-ADC94B9FDA88}"/>
              </a:ext>
            </a:extLst>
          </p:cNvPr>
          <p:cNvSpPr/>
          <p:nvPr userDrawn="1"/>
        </p:nvSpPr>
        <p:spPr>
          <a:xfrm>
            <a:off x="5817635" y="0"/>
            <a:ext cx="1821487" cy="2234280"/>
          </a:xfrm>
          <a:custGeom>
            <a:avLst/>
            <a:gdLst>
              <a:gd name="connsiteX0" fmla="*/ 1437237 w 1821487"/>
              <a:gd name="connsiteY0" fmla="*/ 0 h 2234280"/>
              <a:gd name="connsiteX1" fmla="*/ 1821487 w 1821487"/>
              <a:gd name="connsiteY1" fmla="*/ 0 h 2234280"/>
              <a:gd name="connsiteX2" fmla="*/ 1796412 w 1821487"/>
              <a:gd name="connsiteY2" fmla="*/ 22870 h 2234280"/>
              <a:gd name="connsiteX3" fmla="*/ 255291 w 1821487"/>
              <a:gd name="connsiteY3" fmla="*/ 2154810 h 2234280"/>
              <a:gd name="connsiteX4" fmla="*/ 133253 w 1821487"/>
              <a:gd name="connsiteY4" fmla="*/ 2234280 h 2234280"/>
              <a:gd name="connsiteX5" fmla="*/ 0 w 1821487"/>
              <a:gd name="connsiteY5" fmla="*/ 2100688 h 2234280"/>
              <a:gd name="connsiteX6" fmla="*/ 11362 w 1821487"/>
              <a:gd name="connsiteY6" fmla="*/ 2046980 h 2234280"/>
              <a:gd name="connsiteX7" fmla="*/ 983011 w 1821487"/>
              <a:gd name="connsiteY7" fmla="*/ 493676 h 2234280"/>
              <a:gd name="connsiteX8" fmla="*/ 1347027 w 1821487"/>
              <a:gd name="connsiteY8" fmla="*/ 89809 h 2234280"/>
              <a:gd name="connsiteX9" fmla="*/ 1437237 w 1821487"/>
              <a:gd name="connsiteY9" fmla="*/ 0 h 22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487" h="2234280">
                <a:moveTo>
                  <a:pt x="1437237" y="0"/>
                </a:moveTo>
                <a:lnTo>
                  <a:pt x="1821487" y="0"/>
                </a:lnTo>
                <a:lnTo>
                  <a:pt x="1796412" y="22870"/>
                </a:lnTo>
                <a:cubicBezTo>
                  <a:pt x="1114823" y="664757"/>
                  <a:pt x="598513" y="1378402"/>
                  <a:pt x="255291" y="2154810"/>
                </a:cubicBezTo>
                <a:cubicBezTo>
                  <a:pt x="233937" y="2203128"/>
                  <a:pt x="186080" y="2234292"/>
                  <a:pt x="133253" y="2234280"/>
                </a:cubicBezTo>
                <a:cubicBezTo>
                  <a:pt x="59566" y="2234186"/>
                  <a:pt x="-93" y="2174375"/>
                  <a:pt x="0" y="2100688"/>
                </a:cubicBezTo>
                <a:cubicBezTo>
                  <a:pt x="24" y="2082191"/>
                  <a:pt x="3893" y="2063902"/>
                  <a:pt x="11362" y="2046980"/>
                </a:cubicBezTo>
                <a:cubicBezTo>
                  <a:pt x="261126" y="1486382"/>
                  <a:pt x="588187" y="963534"/>
                  <a:pt x="983011" y="493676"/>
                </a:cubicBezTo>
                <a:cubicBezTo>
                  <a:pt x="1097446" y="356700"/>
                  <a:pt x="1218867" y="222004"/>
                  <a:pt x="1347027" y="89809"/>
                </a:cubicBezTo>
                <a:lnTo>
                  <a:pt x="1437237" y="0"/>
                </a:lnTo>
                <a:close/>
              </a:path>
            </a:pathLst>
          </a:custGeom>
          <a:solidFill>
            <a:srgbClr val="FFA169"/>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616F8CF-6A9D-4874-8D05-BB69A9E2BF71}"/>
              </a:ext>
            </a:extLst>
          </p:cNvPr>
          <p:cNvSpPr/>
          <p:nvPr/>
        </p:nvSpPr>
        <p:spPr>
          <a:xfrm>
            <a:off x="-3" y="1966905"/>
            <a:ext cx="6084624" cy="4134902"/>
          </a:xfrm>
          <a:custGeom>
            <a:avLst/>
            <a:gdLst>
              <a:gd name="connsiteX0" fmla="*/ 5952774 w 6084624"/>
              <a:gd name="connsiteY0" fmla="*/ 8 h 4134902"/>
              <a:gd name="connsiteX1" fmla="*/ 6004542 w 6084624"/>
              <a:gd name="connsiteY1" fmla="*/ 11149 h 4134902"/>
              <a:gd name="connsiteX2" fmla="*/ 6073475 w 6084624"/>
              <a:gd name="connsiteY2" fmla="*/ 186685 h 4134902"/>
              <a:gd name="connsiteX3" fmla="*/ 6072936 w 6084624"/>
              <a:gd name="connsiteY3" fmla="*/ 187906 h 4134902"/>
              <a:gd name="connsiteX4" fmla="*/ 5490882 w 6084624"/>
              <a:gd name="connsiteY4" fmla="*/ 3323469 h 4134902"/>
              <a:gd name="connsiteX5" fmla="*/ 5453886 w 6084624"/>
              <a:gd name="connsiteY5" fmla="*/ 4018214 h 4134902"/>
              <a:gd name="connsiteX6" fmla="*/ 5321583 w 6084624"/>
              <a:gd name="connsiteY6" fmla="*/ 4134902 h 4134902"/>
              <a:gd name="connsiteX7" fmla="*/ 0 w 6084624"/>
              <a:gd name="connsiteY7" fmla="*/ 4134902 h 4134902"/>
              <a:gd name="connsiteX8" fmla="*/ 0 w 6084624"/>
              <a:gd name="connsiteY8" fmla="*/ 3868202 h 4134902"/>
              <a:gd name="connsiteX9" fmla="*/ 5201206 w 6084624"/>
              <a:gd name="connsiteY9" fmla="*/ 3868202 h 4134902"/>
              <a:gd name="connsiteX10" fmla="*/ 5224268 w 6084624"/>
              <a:gd name="connsiteY10" fmla="*/ 3316604 h 4134902"/>
              <a:gd name="connsiteX11" fmla="*/ 5829007 w 6084624"/>
              <a:gd name="connsiteY11" fmla="*/ 80083 h 4134902"/>
              <a:gd name="connsiteX12" fmla="*/ 5952774 w 6084624"/>
              <a:gd name="connsiteY12" fmla="*/ 8 h 413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4624" h="4134902">
                <a:moveTo>
                  <a:pt x="5952774" y="8"/>
                </a:moveTo>
                <a:cubicBezTo>
                  <a:pt x="5970096" y="199"/>
                  <a:pt x="5987665" y="3790"/>
                  <a:pt x="6004542" y="11149"/>
                </a:cubicBezTo>
                <a:cubicBezTo>
                  <a:pt x="6072050" y="40587"/>
                  <a:pt x="6102913" y="119177"/>
                  <a:pt x="6073475" y="186685"/>
                </a:cubicBezTo>
                <a:cubicBezTo>
                  <a:pt x="6073297" y="187093"/>
                  <a:pt x="6073118" y="187500"/>
                  <a:pt x="6072936" y="187906"/>
                </a:cubicBezTo>
                <a:cubicBezTo>
                  <a:pt x="5540646" y="1392040"/>
                  <a:pt x="5511879" y="2508362"/>
                  <a:pt x="5490882" y="3323469"/>
                </a:cubicBezTo>
                <a:cubicBezTo>
                  <a:pt x="5483904" y="3594042"/>
                  <a:pt x="5477890" y="3827721"/>
                  <a:pt x="5453886" y="4018214"/>
                </a:cubicBezTo>
                <a:cubicBezTo>
                  <a:pt x="5445489" y="4084891"/>
                  <a:pt x="5388787" y="4134901"/>
                  <a:pt x="5321583" y="4134902"/>
                </a:cubicBezTo>
                <a:lnTo>
                  <a:pt x="0" y="4134902"/>
                </a:lnTo>
                <a:lnTo>
                  <a:pt x="0" y="3868202"/>
                </a:lnTo>
                <a:lnTo>
                  <a:pt x="5201206" y="3868202"/>
                </a:lnTo>
                <a:cubicBezTo>
                  <a:pt x="5214092" y="3711647"/>
                  <a:pt x="5218886" y="3525414"/>
                  <a:pt x="5224268" y="3316604"/>
                </a:cubicBezTo>
                <a:cubicBezTo>
                  <a:pt x="5245842" y="2479251"/>
                  <a:pt x="5275391" y="1332453"/>
                  <a:pt x="5829007" y="80083"/>
                </a:cubicBezTo>
                <a:cubicBezTo>
                  <a:pt x="5851085" y="29452"/>
                  <a:pt x="5900811" y="-566"/>
                  <a:pt x="5952774" y="8"/>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231408927"/>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and Quotation">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8" name="Text Quotation 1">
            <a:extLst>
              <a:ext uri="{FF2B5EF4-FFF2-40B4-BE49-F238E27FC236}">
                <a16:creationId xmlns:a16="http://schemas.microsoft.com/office/drawing/2014/main" id="{CF83A6C2-5484-4078-9A95-3943A67F863C}"/>
              </a:ext>
            </a:extLst>
          </p:cNvPr>
          <p:cNvSpPr>
            <a:spLocks noGrp="1"/>
          </p:cNvSpPr>
          <p:nvPr>
            <p:ph type="body" sz="quarter" idx="22" hasCustomPrompt="1"/>
          </p:nvPr>
        </p:nvSpPr>
        <p:spPr>
          <a:xfrm>
            <a:off x="8007350" y="3683303"/>
            <a:ext cx="3465512" cy="2453971"/>
          </a:xfrm>
        </p:spPr>
        <p:txBody>
          <a:bodyPr/>
          <a:lstStyle>
            <a:lvl1pPr marL="0" indent="0">
              <a:lnSpc>
                <a:spcPct val="90000"/>
              </a:lnSpc>
              <a:buFont typeface="Arial" panose="020B0604020202020204" pitchFamily="34" charset="0"/>
              <a:buNone/>
              <a:defRPr sz="2000" i="1">
                <a:solidFill>
                  <a:schemeClr val="accent1"/>
                </a:solidFill>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solidFill>
                  <a:schemeClr val="accent1"/>
                </a:solidFill>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21" name="Quote Icon">
            <a:extLst>
              <a:ext uri="{FF2B5EF4-FFF2-40B4-BE49-F238E27FC236}">
                <a16:creationId xmlns:a16="http://schemas.microsoft.com/office/drawing/2014/main" id="{83E37669-D60C-4BDC-89D8-76B20DB9CD69}"/>
              </a:ext>
            </a:extLst>
          </p:cNvPr>
          <p:cNvSpPr>
            <a:spLocks noGrp="1" noChangeAspect="1"/>
          </p:cNvSpPr>
          <p:nvPr>
            <p:ph type="body" sz="quarter" idx="23" hasCustomPrompt="1"/>
          </p:nvPr>
        </p:nvSpPr>
        <p:spPr>
          <a:xfrm>
            <a:off x="8007350" y="3084485"/>
            <a:ext cx="432000" cy="43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
        <p:nvSpPr>
          <p:cNvPr id="10" name="Freeform: Shape 9">
            <a:extLst>
              <a:ext uri="{FF2B5EF4-FFF2-40B4-BE49-F238E27FC236}">
                <a16:creationId xmlns:a16="http://schemas.microsoft.com/office/drawing/2014/main" id="{7C827E1D-DD48-44F3-B112-3D7A29CC8B57}"/>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325EB17-9B77-4BB7-B493-547AA259F275}"/>
              </a:ext>
            </a:extLst>
          </p:cNvPr>
          <p:cNvSpPr/>
          <p:nvPr/>
        </p:nvSpPr>
        <p:spPr>
          <a:xfrm>
            <a:off x="7972806" y="2590800"/>
            <a:ext cx="4219193" cy="266700"/>
          </a:xfrm>
          <a:custGeom>
            <a:avLst/>
            <a:gdLst>
              <a:gd name="connsiteX0" fmla="*/ 133350 w 4219193"/>
              <a:gd name="connsiteY0" fmla="*/ 0 h 266700"/>
              <a:gd name="connsiteX1" fmla="*/ 0 w 4219193"/>
              <a:gd name="connsiteY1" fmla="*/ 133350 h 266700"/>
              <a:gd name="connsiteX2" fmla="*/ 133350 w 4219193"/>
              <a:gd name="connsiteY2" fmla="*/ 266700 h 266700"/>
              <a:gd name="connsiteX3" fmla="*/ 4219194 w 4219193"/>
              <a:gd name="connsiteY3" fmla="*/ 266700 h 266700"/>
              <a:gd name="connsiteX4" fmla="*/ 4219194 w 4219193"/>
              <a:gd name="connsiteY4" fmla="*/ 0 h 266700"/>
              <a:gd name="connsiteX5" fmla="*/ 133350 w 4219193"/>
              <a:gd name="connsiteY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193" h="266700">
                <a:moveTo>
                  <a:pt x="133350" y="0"/>
                </a:moveTo>
                <a:cubicBezTo>
                  <a:pt x="59703" y="0"/>
                  <a:pt x="0" y="59703"/>
                  <a:pt x="0" y="133350"/>
                </a:cubicBezTo>
                <a:cubicBezTo>
                  <a:pt x="0" y="206997"/>
                  <a:pt x="59703" y="266700"/>
                  <a:pt x="133350" y="266700"/>
                </a:cubicBezTo>
                <a:lnTo>
                  <a:pt x="4219194" y="266700"/>
                </a:lnTo>
                <a:lnTo>
                  <a:pt x="4219194" y="0"/>
                </a:lnTo>
                <a:lnTo>
                  <a:pt x="133350" y="0"/>
                </a:lnTo>
                <a:close/>
              </a:path>
            </a:pathLst>
          </a:custGeom>
          <a:solidFill>
            <a:srgbClr val="FFE84C"/>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4D3F087-01E9-453B-8992-8328DC5AED5E}"/>
              </a:ext>
            </a:extLst>
          </p:cNvPr>
          <p:cNvSpPr/>
          <p:nvPr/>
        </p:nvSpPr>
        <p:spPr>
          <a:xfrm>
            <a:off x="6323203" y="2591054"/>
            <a:ext cx="1916303" cy="4266945"/>
          </a:xfrm>
          <a:custGeom>
            <a:avLst/>
            <a:gdLst>
              <a:gd name="connsiteX0" fmla="*/ 1044067 w 1916303"/>
              <a:gd name="connsiteY0" fmla="*/ 797179 h 4266945"/>
              <a:gd name="connsiteX1" fmla="*/ 1066165 w 1916303"/>
              <a:gd name="connsiteY1" fmla="*/ 266700 h 4266945"/>
              <a:gd name="connsiteX2" fmla="*/ 1782953 w 1916303"/>
              <a:gd name="connsiteY2" fmla="*/ 266700 h 4266945"/>
              <a:gd name="connsiteX3" fmla="*/ 1916303 w 1916303"/>
              <a:gd name="connsiteY3" fmla="*/ 133350 h 4266945"/>
              <a:gd name="connsiteX4" fmla="*/ 1782953 w 1916303"/>
              <a:gd name="connsiteY4" fmla="*/ 0 h 4266945"/>
              <a:gd name="connsiteX5" fmla="*/ 945642 w 1916303"/>
              <a:gd name="connsiteY5" fmla="*/ 0 h 4266945"/>
              <a:gd name="connsiteX6" fmla="*/ 813435 w 1916303"/>
              <a:gd name="connsiteY6" fmla="*/ 116586 h 4266945"/>
              <a:gd name="connsiteX7" fmla="*/ 777494 w 1916303"/>
              <a:gd name="connsiteY7" fmla="*/ 790321 h 4266945"/>
              <a:gd name="connsiteX8" fmla="*/ 0 w 1916303"/>
              <a:gd name="connsiteY8" fmla="*/ 4266946 h 4266945"/>
              <a:gd name="connsiteX9" fmla="*/ 297307 w 1916303"/>
              <a:gd name="connsiteY9" fmla="*/ 4266946 h 4266945"/>
              <a:gd name="connsiteX10" fmla="*/ 594360 w 1916303"/>
              <a:gd name="connsiteY10" fmla="*/ 3597783 h 4266945"/>
              <a:gd name="connsiteX11" fmla="*/ 1044067 w 1916303"/>
              <a:gd name="connsiteY11" fmla="*/ 797179 h 42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303" h="4266945">
                <a:moveTo>
                  <a:pt x="1044067" y="797179"/>
                </a:moveTo>
                <a:cubicBezTo>
                  <a:pt x="1049274" y="596519"/>
                  <a:pt x="1053846" y="417449"/>
                  <a:pt x="1066165" y="266700"/>
                </a:cubicBezTo>
                <a:lnTo>
                  <a:pt x="1782953" y="266700"/>
                </a:lnTo>
                <a:cubicBezTo>
                  <a:pt x="1856601" y="266700"/>
                  <a:pt x="1916303" y="206997"/>
                  <a:pt x="1916303" y="133350"/>
                </a:cubicBezTo>
                <a:cubicBezTo>
                  <a:pt x="1916303" y="59703"/>
                  <a:pt x="1856601" y="0"/>
                  <a:pt x="1782953" y="0"/>
                </a:cubicBezTo>
                <a:lnTo>
                  <a:pt x="945642" y="0"/>
                </a:lnTo>
                <a:cubicBezTo>
                  <a:pt x="878487" y="-14"/>
                  <a:pt x="821821" y="49957"/>
                  <a:pt x="813435" y="116586"/>
                </a:cubicBezTo>
                <a:cubicBezTo>
                  <a:pt x="790067" y="301371"/>
                  <a:pt x="784225" y="527939"/>
                  <a:pt x="777494" y="790321"/>
                </a:cubicBezTo>
                <a:cubicBezTo>
                  <a:pt x="754380" y="1683004"/>
                  <a:pt x="721740" y="2947797"/>
                  <a:pt x="0" y="4266946"/>
                </a:cubicBezTo>
                <a:lnTo>
                  <a:pt x="297307" y="4266946"/>
                </a:lnTo>
                <a:cubicBezTo>
                  <a:pt x="409624" y="4050036"/>
                  <a:pt x="508820" y="3826580"/>
                  <a:pt x="594360" y="3597783"/>
                </a:cubicBezTo>
                <a:cubicBezTo>
                  <a:pt x="999744" y="2512441"/>
                  <a:pt x="1025398" y="1521079"/>
                  <a:pt x="1044067" y="797179"/>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2949209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2" name="Freeform: Shape 11">
            <a:extLst>
              <a:ext uri="{FF2B5EF4-FFF2-40B4-BE49-F238E27FC236}">
                <a16:creationId xmlns:a16="http://schemas.microsoft.com/office/drawing/2014/main" id="{AB4A32E8-75AB-42D3-86D2-1B66C4AB73D9}"/>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16867846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6" name="Content Placeholder 3">
            <a:extLst>
              <a:ext uri="{FF2B5EF4-FFF2-40B4-BE49-F238E27FC236}">
                <a16:creationId xmlns:a16="http://schemas.microsoft.com/office/drawing/2014/main" id="{828B6303-5E5A-4F9F-B85F-7C003AC607B9}"/>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C14F23CB-D366-4F09-BEDD-C82A562BC064}"/>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
            <a:extLst>
              <a:ext uri="{FF2B5EF4-FFF2-40B4-BE49-F238E27FC236}">
                <a16:creationId xmlns:a16="http://schemas.microsoft.com/office/drawing/2014/main" id="{2508DEB1-7FFB-4003-BD92-0A426636F4B2}"/>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9" name="Freeform: Shape 8">
            <a:extLst>
              <a:ext uri="{FF2B5EF4-FFF2-40B4-BE49-F238E27FC236}">
                <a16:creationId xmlns:a16="http://schemas.microsoft.com/office/drawing/2014/main" id="{20C34EB3-71F9-4B2D-8EEE-10FB2F2DE143}"/>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9AB9437-5153-4E47-9687-8F42B346B14C}"/>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8B3C57A-F96E-40E7-A327-2E5A668D994C}"/>
              </a:ext>
            </a:extLst>
          </p:cNvPr>
          <p:cNvSpPr/>
          <p:nvPr/>
        </p:nvSpPr>
        <p:spPr>
          <a:xfrm>
            <a:off x="8958833" y="0"/>
            <a:ext cx="3233293" cy="1615694"/>
          </a:xfrm>
          <a:custGeom>
            <a:avLst/>
            <a:gdLst>
              <a:gd name="connsiteX0" fmla="*/ 297942 w 3233293"/>
              <a:gd name="connsiteY0" fmla="*/ 316484 h 1615694"/>
              <a:gd name="connsiteX1" fmla="*/ 3233293 w 3233293"/>
              <a:gd name="connsiteY1" fmla="*/ 1615694 h 1615694"/>
              <a:gd name="connsiteX2" fmla="*/ 3233293 w 3233293"/>
              <a:gd name="connsiteY2" fmla="*/ 0 h 1615694"/>
              <a:gd name="connsiteX3" fmla="*/ 0 w 3233293"/>
              <a:gd name="connsiteY3" fmla="*/ 0 h 1615694"/>
              <a:gd name="connsiteX4" fmla="*/ 297942 w 3233293"/>
              <a:gd name="connsiteY4" fmla="*/ 316484 h 1615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293" h="1615694">
                <a:moveTo>
                  <a:pt x="297942" y="316484"/>
                </a:moveTo>
                <a:cubicBezTo>
                  <a:pt x="1101217" y="1095629"/>
                  <a:pt x="2088642" y="1532382"/>
                  <a:pt x="3233293" y="1615694"/>
                </a:cubicBezTo>
                <a:lnTo>
                  <a:pt x="3233293" y="0"/>
                </a:lnTo>
                <a:lnTo>
                  <a:pt x="0" y="0"/>
                </a:lnTo>
                <a:cubicBezTo>
                  <a:pt x="88519" y="102870"/>
                  <a:pt x="187706" y="209550"/>
                  <a:pt x="297942" y="316484"/>
                </a:cubicBez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7C31D8C-1F17-46A9-B024-3B19A10B3DA3}"/>
              </a:ext>
            </a:extLst>
          </p:cNvPr>
          <p:cNvSpPr/>
          <p:nvPr/>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2880992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30804"/>
            <a:ext cx="10752137"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80429050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CD836DB-20FF-4ECB-BFDB-285EE8F4E18F}"/>
              </a:ext>
            </a:extLst>
          </p:cNvPr>
          <p:cNvGrpSpPr/>
          <p:nvPr userDrawn="1"/>
        </p:nvGrpSpPr>
        <p:grpSpPr>
          <a:xfrm>
            <a:off x="8944357" y="1706544"/>
            <a:ext cx="3247771" cy="5151963"/>
            <a:chOff x="8944357" y="1706544"/>
            <a:chExt cx="3247771" cy="5151963"/>
          </a:xfrm>
        </p:grpSpPr>
        <p:sp>
          <p:nvSpPr>
            <p:cNvPr id="18" name="Freeform: Shape 17">
              <a:extLst>
                <a:ext uri="{FF2B5EF4-FFF2-40B4-BE49-F238E27FC236}">
                  <a16:creationId xmlns:a16="http://schemas.microsoft.com/office/drawing/2014/main" id="{05966845-85E6-49B2-AB13-39C3A22ACF17}"/>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A0D2D12A-F7B7-4BA7-AB91-7EC22598788D}"/>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6" name="Picture Placeholder 5">
            <a:extLst>
              <a:ext uri="{FF2B5EF4-FFF2-40B4-BE49-F238E27FC236}">
                <a16:creationId xmlns:a16="http://schemas.microsoft.com/office/drawing/2014/main" id="{4B43E360-FC59-4631-9065-F313F8D5F664}"/>
              </a:ext>
            </a:extLst>
          </p:cNvPr>
          <p:cNvSpPr>
            <a:spLocks noGrp="1"/>
          </p:cNvSpPr>
          <p:nvPr>
            <p:ph type="pic" sz="quarter" idx="15"/>
          </p:nvPr>
        </p:nvSpPr>
        <p:spPr>
          <a:xfrm>
            <a:off x="8918575" y="2127906"/>
            <a:ext cx="2552699" cy="4006800"/>
          </a:xfrm>
        </p:spPr>
        <p:txBody>
          <a:bodyPr/>
          <a:lstStyle/>
          <a:p>
            <a:r>
              <a:rPr lang="en-US"/>
              <a:t>Click icon to add picture</a:t>
            </a:r>
            <a:endParaRPr lang="en-GB" dirty="0"/>
          </a:p>
        </p:txBody>
      </p:sp>
      <p:sp>
        <p:nvSpPr>
          <p:cNvPr id="17" name="Freeform: Shape 16">
            <a:extLst>
              <a:ext uri="{FF2B5EF4-FFF2-40B4-BE49-F238E27FC236}">
                <a16:creationId xmlns:a16="http://schemas.microsoft.com/office/drawing/2014/main" id="{324DC9B5-A353-4960-B089-EE1C2A20997D}"/>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64826261"/>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7"/>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7"/>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06E694C4-9BFB-4141-B1A7-97C150BE685E}"/>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6553654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84091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8201026" cy="720000"/>
          </a:xfrm>
        </p:spPr>
        <p:txBody>
          <a:bodyPr/>
          <a:lstStyle/>
          <a:p>
            <a:pPr lvl="0"/>
            <a:r>
              <a:rPr lang="en-US"/>
              <a:t>Click to edit Master title style</a:t>
            </a:r>
            <a:endParaRPr lang="en-GB" dirty="0"/>
          </a:p>
        </p:txBody>
      </p:sp>
      <p:sp>
        <p:nvSpPr>
          <p:cNvPr id="16" name="Freeform: Shape 15">
            <a:extLst>
              <a:ext uri="{FF2B5EF4-FFF2-40B4-BE49-F238E27FC236}">
                <a16:creationId xmlns:a16="http://schemas.microsoft.com/office/drawing/2014/main" id="{A3FBBA86-6D28-470B-B82F-E07AEEEA545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90448247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6186488"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719137"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648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020300"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3" name="Freeform: Shape 12">
            <a:extLst>
              <a:ext uri="{FF2B5EF4-FFF2-40B4-BE49-F238E27FC236}">
                <a16:creationId xmlns:a16="http://schemas.microsoft.com/office/drawing/2014/main" id="{818F1BCE-16CB-48EB-BE3B-58808302C04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7433483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884741"/>
            <a:ext cx="2552699"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884741"/>
            <a:ext cx="2552700"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8" name="Freeform: Shape 27">
            <a:extLst>
              <a:ext uri="{FF2B5EF4-FFF2-40B4-BE49-F238E27FC236}">
                <a16:creationId xmlns:a16="http://schemas.microsoft.com/office/drawing/2014/main" id="{8DF29A4C-9712-4E66-B9C1-AF538CFF51BB}"/>
              </a:ext>
            </a:extLst>
          </p:cNvPr>
          <p:cNvSpPr/>
          <p:nvPr userDrawn="1"/>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B2D6E4F-11A2-47EB-92FE-B5E446DBE52C}"/>
              </a:ext>
            </a:extLst>
          </p:cNvPr>
          <p:cNvSpPr/>
          <p:nvPr/>
        </p:nvSpPr>
        <p:spPr>
          <a:xfrm>
            <a:off x="8650096" y="2349500"/>
            <a:ext cx="3541903" cy="266700"/>
          </a:xfrm>
          <a:custGeom>
            <a:avLst/>
            <a:gdLst>
              <a:gd name="connsiteX0" fmla="*/ 0 w 3541903"/>
              <a:gd name="connsiteY0" fmla="*/ 133350 h 266700"/>
              <a:gd name="connsiteX1" fmla="*/ 133350 w 3541903"/>
              <a:gd name="connsiteY1" fmla="*/ 266700 h 266700"/>
              <a:gd name="connsiteX2" fmla="*/ 3541903 w 3541903"/>
              <a:gd name="connsiteY2" fmla="*/ 266700 h 266700"/>
              <a:gd name="connsiteX3" fmla="*/ 3541903 w 3541903"/>
              <a:gd name="connsiteY3" fmla="*/ 0 h 266700"/>
              <a:gd name="connsiteX4" fmla="*/ 133350 w 3541903"/>
              <a:gd name="connsiteY4" fmla="*/ 0 h 266700"/>
              <a:gd name="connsiteX5" fmla="*/ 0 w 3541903"/>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1903" h="266700">
                <a:moveTo>
                  <a:pt x="0" y="133350"/>
                </a:moveTo>
                <a:cubicBezTo>
                  <a:pt x="0" y="206997"/>
                  <a:pt x="59703" y="266700"/>
                  <a:pt x="133350" y="266700"/>
                </a:cubicBezTo>
                <a:lnTo>
                  <a:pt x="3541903" y="266700"/>
                </a:lnTo>
                <a:lnTo>
                  <a:pt x="3541903" y="0"/>
                </a:lnTo>
                <a:lnTo>
                  <a:pt x="133350" y="0"/>
                </a:lnTo>
                <a:cubicBezTo>
                  <a:pt x="59703" y="0"/>
                  <a:pt x="0" y="59703"/>
                  <a:pt x="0" y="133350"/>
                </a:cubicBezTo>
                <a:close/>
              </a:path>
            </a:pathLst>
          </a:custGeom>
          <a:solidFill>
            <a:srgbClr val="D19EC7"/>
          </a:solidFill>
          <a:ln w="1270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76FF8548-3421-4E4E-9A66-8B44D31050B3}"/>
              </a:ext>
            </a:extLst>
          </p:cNvPr>
          <p:cNvSpPr/>
          <p:nvPr/>
        </p:nvSpPr>
        <p:spPr>
          <a:xfrm>
            <a:off x="5683884" y="2349500"/>
            <a:ext cx="3805428" cy="266700"/>
          </a:xfrm>
          <a:custGeom>
            <a:avLst/>
            <a:gdLst>
              <a:gd name="connsiteX0" fmla="*/ 3672078 w 3805428"/>
              <a:gd name="connsiteY0" fmla="*/ 266700 h 266700"/>
              <a:gd name="connsiteX1" fmla="*/ 133350 w 3805428"/>
              <a:gd name="connsiteY1" fmla="*/ 266700 h 266700"/>
              <a:gd name="connsiteX2" fmla="*/ 0 w 3805428"/>
              <a:gd name="connsiteY2" fmla="*/ 133350 h 266700"/>
              <a:gd name="connsiteX3" fmla="*/ 133350 w 3805428"/>
              <a:gd name="connsiteY3" fmla="*/ 0 h 266700"/>
              <a:gd name="connsiteX4" fmla="*/ 3672078 w 3805428"/>
              <a:gd name="connsiteY4" fmla="*/ 0 h 266700"/>
              <a:gd name="connsiteX5" fmla="*/ 3805428 w 3805428"/>
              <a:gd name="connsiteY5" fmla="*/ 133350 h 266700"/>
              <a:gd name="connsiteX6" fmla="*/ 3672078 w 3805428"/>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8" h="266700">
                <a:moveTo>
                  <a:pt x="3672078" y="266700"/>
                </a:moveTo>
                <a:lnTo>
                  <a:pt x="133350" y="266700"/>
                </a:lnTo>
                <a:cubicBezTo>
                  <a:pt x="59703" y="266700"/>
                  <a:pt x="0" y="206997"/>
                  <a:pt x="0" y="133350"/>
                </a:cubicBezTo>
                <a:cubicBezTo>
                  <a:pt x="0" y="59703"/>
                  <a:pt x="59703" y="0"/>
                  <a:pt x="133350" y="0"/>
                </a:cubicBezTo>
                <a:lnTo>
                  <a:pt x="3672078" y="0"/>
                </a:lnTo>
                <a:cubicBezTo>
                  <a:pt x="3745726" y="0"/>
                  <a:pt x="3805428" y="59703"/>
                  <a:pt x="3805428" y="133350"/>
                </a:cubicBezTo>
                <a:cubicBezTo>
                  <a:pt x="3805428" y="206997"/>
                  <a:pt x="3745726" y="266700"/>
                  <a:pt x="3672078" y="266700"/>
                </a:cubicBezTo>
                <a:close/>
              </a:path>
            </a:pathLst>
          </a:custGeom>
          <a:solidFill>
            <a:srgbClr val="EDC2B2"/>
          </a:solidFill>
          <a:ln w="1270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DB94F954-1122-427F-AA9E-A4AACAED58A9}"/>
              </a:ext>
            </a:extLst>
          </p:cNvPr>
          <p:cNvSpPr/>
          <p:nvPr/>
        </p:nvSpPr>
        <p:spPr>
          <a:xfrm>
            <a:off x="2715132" y="2349500"/>
            <a:ext cx="3805301" cy="266700"/>
          </a:xfrm>
          <a:custGeom>
            <a:avLst/>
            <a:gdLst>
              <a:gd name="connsiteX0" fmla="*/ 3671951 w 3805301"/>
              <a:gd name="connsiteY0" fmla="*/ 266700 h 266700"/>
              <a:gd name="connsiteX1" fmla="*/ 133350 w 3805301"/>
              <a:gd name="connsiteY1" fmla="*/ 266700 h 266700"/>
              <a:gd name="connsiteX2" fmla="*/ 0 w 3805301"/>
              <a:gd name="connsiteY2" fmla="*/ 133350 h 266700"/>
              <a:gd name="connsiteX3" fmla="*/ 133350 w 3805301"/>
              <a:gd name="connsiteY3" fmla="*/ 0 h 266700"/>
              <a:gd name="connsiteX4" fmla="*/ 3671951 w 3805301"/>
              <a:gd name="connsiteY4" fmla="*/ 0 h 266700"/>
              <a:gd name="connsiteX5" fmla="*/ 3805302 w 3805301"/>
              <a:gd name="connsiteY5" fmla="*/ 133350 h 266700"/>
              <a:gd name="connsiteX6" fmla="*/ 3671952 w 3805301"/>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301" h="266700">
                <a:moveTo>
                  <a:pt x="3671951" y="266700"/>
                </a:moveTo>
                <a:lnTo>
                  <a:pt x="133350" y="266700"/>
                </a:lnTo>
                <a:cubicBezTo>
                  <a:pt x="59703" y="266700"/>
                  <a:pt x="0" y="206997"/>
                  <a:pt x="0" y="133350"/>
                </a:cubicBezTo>
                <a:cubicBezTo>
                  <a:pt x="0" y="59703"/>
                  <a:pt x="59703" y="0"/>
                  <a:pt x="133350" y="0"/>
                </a:cubicBezTo>
                <a:lnTo>
                  <a:pt x="3671951" y="0"/>
                </a:lnTo>
                <a:cubicBezTo>
                  <a:pt x="3745598" y="0"/>
                  <a:pt x="3805302" y="59703"/>
                  <a:pt x="3805302" y="133350"/>
                </a:cubicBezTo>
                <a:cubicBezTo>
                  <a:pt x="3805302" y="206997"/>
                  <a:pt x="3745599" y="266700"/>
                  <a:pt x="3671952" y="266700"/>
                </a:cubicBezTo>
                <a:close/>
              </a:path>
            </a:pathLst>
          </a:custGeom>
          <a:solidFill>
            <a:srgbClr val="9EDED4"/>
          </a:solidFill>
          <a:ln w="1270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326E4F0B-FAC1-4CDE-948B-7C353EBC5D15}"/>
              </a:ext>
            </a:extLst>
          </p:cNvPr>
          <p:cNvSpPr/>
          <p:nvPr/>
        </p:nvSpPr>
        <p:spPr>
          <a:xfrm>
            <a:off x="0" y="2349500"/>
            <a:ext cx="3542029" cy="266700"/>
          </a:xfrm>
          <a:custGeom>
            <a:avLst/>
            <a:gdLst>
              <a:gd name="connsiteX0" fmla="*/ 3542030 w 3542029"/>
              <a:gd name="connsiteY0" fmla="*/ 133350 h 266700"/>
              <a:gd name="connsiteX1" fmla="*/ 3408680 w 3542029"/>
              <a:gd name="connsiteY1" fmla="*/ 0 h 266700"/>
              <a:gd name="connsiteX2" fmla="*/ 0 w 3542029"/>
              <a:gd name="connsiteY2" fmla="*/ 0 h 266700"/>
              <a:gd name="connsiteX3" fmla="*/ 0 w 3542029"/>
              <a:gd name="connsiteY3" fmla="*/ 266700 h 266700"/>
              <a:gd name="connsiteX4" fmla="*/ 3408680 w 3542029"/>
              <a:gd name="connsiteY4" fmla="*/ 266700 h 266700"/>
              <a:gd name="connsiteX5" fmla="*/ 3542030 w 3542029"/>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2029" h="266700">
                <a:moveTo>
                  <a:pt x="3542030" y="133350"/>
                </a:moveTo>
                <a:cubicBezTo>
                  <a:pt x="3542030" y="59703"/>
                  <a:pt x="3482327" y="0"/>
                  <a:pt x="3408680" y="0"/>
                </a:cubicBezTo>
                <a:lnTo>
                  <a:pt x="0" y="0"/>
                </a:lnTo>
                <a:lnTo>
                  <a:pt x="0" y="266700"/>
                </a:lnTo>
                <a:lnTo>
                  <a:pt x="3408680" y="266700"/>
                </a:lnTo>
                <a:cubicBezTo>
                  <a:pt x="3482327" y="266700"/>
                  <a:pt x="3542030" y="206997"/>
                  <a:pt x="3542030" y="133350"/>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41410130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9840913" cy="720000"/>
          </a:xfrm>
        </p:spPr>
        <p:txBody>
          <a:bodyPr/>
          <a:lstStyle/>
          <a:p>
            <a:r>
              <a:rPr lang="en-US"/>
              <a:t>Click to edit Master title style</a:t>
            </a:r>
            <a:endParaRPr lang="en-GB" dirty="0"/>
          </a:p>
        </p:txBody>
      </p:sp>
      <p:sp>
        <p:nvSpPr>
          <p:cNvPr id="8" name="Freeform: Shape 7">
            <a:extLst>
              <a:ext uri="{FF2B5EF4-FFF2-40B4-BE49-F238E27FC236}">
                <a16:creationId xmlns:a16="http://schemas.microsoft.com/office/drawing/2014/main" id="{CC53A116-AE64-4BD1-9FAE-4644DD0BE318}"/>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2"/>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5871591"/>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Subtitle 2">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33820480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titl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80184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8" y="666745"/>
            <a:ext cx="8018462" cy="720000"/>
          </a:xfrm>
        </p:spPr>
        <p:txBody>
          <a:bodyPr/>
          <a:lstStyle/>
          <a:p>
            <a:r>
              <a:rPr lang="en-US"/>
              <a:t>Click to edit Master title style</a:t>
            </a:r>
            <a:endParaRPr lang="en-GB" dirty="0"/>
          </a:p>
        </p:txBody>
      </p:sp>
      <p:sp>
        <p:nvSpPr>
          <p:cNvPr id="13" name="Freeform: Shape 12">
            <a:extLst>
              <a:ext uri="{FF2B5EF4-FFF2-40B4-BE49-F238E27FC236}">
                <a16:creationId xmlns:a16="http://schemas.microsoft.com/office/drawing/2014/main" id="{DE495F12-C76F-40C5-B5B5-64A9DE3DCDFF}"/>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57328E-6812-414B-A3B7-E38242C70EA3}"/>
              </a:ext>
            </a:extLst>
          </p:cNvPr>
          <p:cNvSpPr/>
          <p:nvPr/>
        </p:nvSpPr>
        <p:spPr>
          <a:xfrm>
            <a:off x="3745977" y="0"/>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A558014-1610-414C-BB1A-A38E64AE4FA5}"/>
              </a:ext>
            </a:extLst>
          </p:cNvPr>
          <p:cNvSpPr/>
          <p:nvPr/>
        </p:nvSpPr>
        <p:spPr>
          <a:xfrm>
            <a:off x="0" y="4447921"/>
            <a:ext cx="3996047" cy="1168934"/>
          </a:xfrm>
          <a:custGeom>
            <a:avLst/>
            <a:gdLst>
              <a:gd name="connsiteX0" fmla="*/ 3868674 w 3996047"/>
              <a:gd name="connsiteY0" fmla="*/ 1155192 h 1168934"/>
              <a:gd name="connsiteX1" fmla="*/ 3995911 w 3996047"/>
              <a:gd name="connsiteY1" fmla="*/ 1015997 h 1168934"/>
              <a:gd name="connsiteX2" fmla="*/ 3856717 w 3996047"/>
              <a:gd name="connsiteY2" fmla="*/ 888760 h 1168934"/>
              <a:gd name="connsiteX3" fmla="*/ 3851148 w 3996047"/>
              <a:gd name="connsiteY3" fmla="*/ 889127 h 1168934"/>
              <a:gd name="connsiteX4" fmla="*/ 8255 w 3996047"/>
              <a:gd name="connsiteY4" fmla="*/ 4318 h 1168934"/>
              <a:gd name="connsiteX5" fmla="*/ 0 w 3996047"/>
              <a:gd name="connsiteY5" fmla="*/ 0 h 1168934"/>
              <a:gd name="connsiteX6" fmla="*/ 0 w 3996047"/>
              <a:gd name="connsiteY6" fmla="*/ 299212 h 1168934"/>
              <a:gd name="connsiteX7" fmla="*/ 1660144 w 3996047"/>
              <a:gd name="connsiteY7" fmla="*/ 931037 h 1168934"/>
              <a:gd name="connsiteX8" fmla="*/ 3868674 w 3996047"/>
              <a:gd name="connsiteY8" fmla="*/ 1155192 h 116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047" h="1168934">
                <a:moveTo>
                  <a:pt x="3868674" y="1155192"/>
                </a:moveTo>
                <a:cubicBezTo>
                  <a:pt x="3942247" y="1151890"/>
                  <a:pt x="3999213" y="1089570"/>
                  <a:pt x="3995911" y="1015997"/>
                </a:cubicBezTo>
                <a:cubicBezTo>
                  <a:pt x="3992610" y="942424"/>
                  <a:pt x="3930290" y="885458"/>
                  <a:pt x="3856717" y="888760"/>
                </a:cubicBezTo>
                <a:cubicBezTo>
                  <a:pt x="3854858" y="888843"/>
                  <a:pt x="3853001" y="888966"/>
                  <a:pt x="3851148" y="889127"/>
                </a:cubicBezTo>
                <a:cubicBezTo>
                  <a:pt x="2289048" y="991997"/>
                  <a:pt x="899414" y="464820"/>
                  <a:pt x="8255" y="4318"/>
                </a:cubicBezTo>
                <a:lnTo>
                  <a:pt x="0" y="0"/>
                </a:lnTo>
                <a:lnTo>
                  <a:pt x="0" y="299212"/>
                </a:lnTo>
                <a:cubicBezTo>
                  <a:pt x="530207" y="566292"/>
                  <a:pt x="1086527" y="778019"/>
                  <a:pt x="1660144" y="931037"/>
                </a:cubicBezTo>
                <a:cubicBezTo>
                  <a:pt x="2406904" y="1127379"/>
                  <a:pt x="3149600" y="1202563"/>
                  <a:pt x="3868674" y="1155192"/>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1093072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2D7E41-C7F8-4707-B5F1-EA6F8F846A0A}"/>
              </a:ext>
            </a:extLst>
          </p:cNvPr>
          <p:cNvSpPr>
            <a:spLocks noGrp="1"/>
          </p:cNvSpPr>
          <p:nvPr>
            <p:ph type="dt" sz="half" idx="10"/>
          </p:nvPr>
        </p:nvSpPr>
        <p:spPr/>
        <p:txBody>
          <a:bodyPr/>
          <a:lstStyle/>
          <a:p>
            <a:r>
              <a:rPr lang="en-US"/>
              <a:t>dd Month 2021</a:t>
            </a:r>
            <a:endParaRPr lang="en-GB" dirty="0"/>
          </a:p>
        </p:txBody>
      </p:sp>
      <p:sp>
        <p:nvSpPr>
          <p:cNvPr id="3" name="Footer Placeholder 2">
            <a:extLst>
              <a:ext uri="{FF2B5EF4-FFF2-40B4-BE49-F238E27FC236}">
                <a16:creationId xmlns:a16="http://schemas.microsoft.com/office/drawing/2014/main" id="{A16A7665-89F6-450F-B436-DAFC760E9AD1}"/>
              </a:ext>
            </a:extLst>
          </p:cNvPr>
          <p:cNvSpPr>
            <a:spLocks noGrp="1"/>
          </p:cNvSpPr>
          <p:nvPr>
            <p:ph type="ftr" sz="quarter" idx="11"/>
          </p:nvPr>
        </p:nvSpPr>
        <p:spPr/>
        <p:txBody>
          <a:bodyPr/>
          <a:lstStyle/>
          <a:p>
            <a:r>
              <a:rPr lang="en-GB"/>
              <a:t>Update Footer to add the Document title</a:t>
            </a:r>
            <a:endParaRPr lang="en-GB" dirty="0"/>
          </a:p>
        </p:txBody>
      </p:sp>
    </p:spTree>
    <p:extLst>
      <p:ext uri="{BB962C8B-B14F-4D97-AF65-F5344CB8AC3E}">
        <p14:creationId xmlns:p14="http://schemas.microsoft.com/office/powerpoint/2010/main" val="218828213"/>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ntent and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5260AAC-FBD9-4C1E-B169-41C32038B4F2}"/>
              </a:ext>
            </a:extLst>
          </p:cNvPr>
          <p:cNvSpPr/>
          <p:nvPr/>
        </p:nvSpPr>
        <p:spPr>
          <a:xfrm>
            <a:off x="5379781" y="3391416"/>
            <a:ext cx="6810629" cy="3466581"/>
          </a:xfrm>
          <a:custGeom>
            <a:avLst/>
            <a:gdLst>
              <a:gd name="connsiteX0" fmla="*/ 6810630 w 6810629"/>
              <a:gd name="connsiteY0" fmla="*/ 271424 h 3466581"/>
              <a:gd name="connsiteX1" fmla="*/ 6810630 w 6810629"/>
              <a:gd name="connsiteY1" fmla="*/ 4759 h 3466581"/>
              <a:gd name="connsiteX2" fmla="*/ 4348548 w 6810629"/>
              <a:gd name="connsiteY2" fmla="*/ 254789 h 3466581"/>
              <a:gd name="connsiteX3" fmla="*/ 994788 w 6810629"/>
              <a:gd name="connsiteY3" fmla="*/ 2207922 h 3466581"/>
              <a:gd name="connsiteX4" fmla="*/ 0 w 6810629"/>
              <a:gd name="connsiteY4" fmla="*/ 3466581 h 3466581"/>
              <a:gd name="connsiteX5" fmla="*/ 320506 w 6810629"/>
              <a:gd name="connsiteY5" fmla="*/ 3466581 h 3466581"/>
              <a:gd name="connsiteX6" fmla="*/ 1186787 w 6810629"/>
              <a:gd name="connsiteY6" fmla="*/ 2392937 h 3466581"/>
              <a:gd name="connsiteX7" fmla="*/ 6810630 w 6810629"/>
              <a:gd name="connsiteY7" fmla="*/ 271424 h 34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629" h="3466581">
                <a:moveTo>
                  <a:pt x="6810630" y="271424"/>
                </a:moveTo>
                <a:lnTo>
                  <a:pt x="6810630" y="4759"/>
                </a:lnTo>
                <a:cubicBezTo>
                  <a:pt x="5929873" y="-21654"/>
                  <a:pt x="5104988" y="61902"/>
                  <a:pt x="4348548" y="254789"/>
                </a:cubicBezTo>
                <a:cubicBezTo>
                  <a:pt x="3054840" y="584692"/>
                  <a:pt x="1926339" y="1241831"/>
                  <a:pt x="994788" y="2207922"/>
                </a:cubicBezTo>
                <a:cubicBezTo>
                  <a:pt x="624210" y="2595137"/>
                  <a:pt x="291127" y="3016571"/>
                  <a:pt x="0" y="3466581"/>
                </a:cubicBezTo>
                <a:lnTo>
                  <a:pt x="320506" y="3466581"/>
                </a:lnTo>
                <a:cubicBezTo>
                  <a:pt x="578284" y="3084771"/>
                  <a:pt x="868090" y="2725593"/>
                  <a:pt x="1186787" y="2392937"/>
                </a:cubicBezTo>
                <a:cubicBezTo>
                  <a:pt x="2614081" y="912818"/>
                  <a:pt x="4502706" y="201329"/>
                  <a:pt x="6810630" y="271424"/>
                </a:cubicBezTo>
                <a:close/>
              </a:path>
            </a:pathLst>
          </a:custGeom>
          <a:solidFill>
            <a:srgbClr val="85ABE3"/>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096125" y="2128838"/>
            <a:ext cx="4375150"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46576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9B9455DB-5F59-44BE-8DE3-D293EF6BD9FF}"/>
              </a:ext>
            </a:extLst>
          </p:cNvPr>
          <p:cNvSpPr/>
          <p:nvPr userDrawn="1"/>
        </p:nvSpPr>
        <p:spPr>
          <a:xfrm>
            <a:off x="1" y="893"/>
            <a:ext cx="12190536" cy="6857105"/>
          </a:xfrm>
          <a:custGeom>
            <a:avLst/>
            <a:gdLst>
              <a:gd name="connsiteX0" fmla="*/ 0 w 12190536"/>
              <a:gd name="connsiteY0" fmla="*/ 0 h 6857105"/>
              <a:gd name="connsiteX1" fmla="*/ 12190537 w 12190536"/>
              <a:gd name="connsiteY1" fmla="*/ 0 h 6857105"/>
              <a:gd name="connsiteX2" fmla="*/ 12190537 w 12190536"/>
              <a:gd name="connsiteY2" fmla="*/ 6857105 h 6857105"/>
              <a:gd name="connsiteX3" fmla="*/ 0 w 12190536"/>
              <a:gd name="connsiteY3" fmla="*/ 6857105 h 6857105"/>
            </a:gdLst>
            <a:ahLst/>
            <a:cxnLst>
              <a:cxn ang="0">
                <a:pos x="connsiteX0" y="connsiteY0"/>
              </a:cxn>
              <a:cxn ang="0">
                <a:pos x="connsiteX1" y="connsiteY1"/>
              </a:cxn>
              <a:cxn ang="0">
                <a:pos x="connsiteX2" y="connsiteY2"/>
              </a:cxn>
              <a:cxn ang="0">
                <a:pos x="connsiteX3" y="connsiteY3"/>
              </a:cxn>
            </a:cxnLst>
            <a:rect l="l" t="t" r="r" b="b"/>
            <a:pathLst>
              <a:path w="12190536" h="6857105">
                <a:moveTo>
                  <a:pt x="0" y="0"/>
                </a:moveTo>
                <a:lnTo>
                  <a:pt x="12190537" y="0"/>
                </a:lnTo>
                <a:lnTo>
                  <a:pt x="12190537" y="6857105"/>
                </a:lnTo>
                <a:lnTo>
                  <a:pt x="0" y="6857105"/>
                </a:ln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39179778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1627188"/>
            <a:ext cx="10752137" cy="45100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6197517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ne Content and Sma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5E56D3C-DAC2-43A0-AEC2-CC85CC8D5308}"/>
              </a:ext>
            </a:extLst>
          </p:cNvPr>
          <p:cNvSpPr/>
          <p:nvPr/>
        </p:nvSpPr>
        <p:spPr>
          <a:xfrm>
            <a:off x="9663795" y="0"/>
            <a:ext cx="2528205" cy="4327499"/>
          </a:xfrm>
          <a:custGeom>
            <a:avLst/>
            <a:gdLst>
              <a:gd name="connsiteX0" fmla="*/ 2528206 w 2528205"/>
              <a:gd name="connsiteY0" fmla="*/ 4327500 h 4327499"/>
              <a:gd name="connsiteX1" fmla="*/ 2528206 w 2528205"/>
              <a:gd name="connsiteY1" fmla="*/ 4011680 h 4327499"/>
              <a:gd name="connsiteX2" fmla="*/ 932346 w 2528205"/>
              <a:gd name="connsiteY2" fmla="*/ 2254292 h 4327499"/>
              <a:gd name="connsiteX3" fmla="*/ 268199 w 2528205"/>
              <a:gd name="connsiteY3" fmla="*/ 0 h 4327499"/>
              <a:gd name="connsiteX4" fmla="*/ 0 w 2528205"/>
              <a:gd name="connsiteY4" fmla="*/ 0 h 4327499"/>
              <a:gd name="connsiteX5" fmla="*/ 696149 w 2528205"/>
              <a:gd name="connsiteY5" fmla="*/ 2377979 h 4327499"/>
              <a:gd name="connsiteX6" fmla="*/ 2528206 w 2528205"/>
              <a:gd name="connsiteY6" fmla="*/ 4327500 h 432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205" h="4327499">
                <a:moveTo>
                  <a:pt x="2528206" y="4327500"/>
                </a:moveTo>
                <a:lnTo>
                  <a:pt x="2528206" y="4011680"/>
                </a:lnTo>
                <a:cubicBezTo>
                  <a:pt x="1847888" y="3570608"/>
                  <a:pt x="1315935" y="2984812"/>
                  <a:pt x="932346" y="2254292"/>
                </a:cubicBezTo>
                <a:cubicBezTo>
                  <a:pt x="598368" y="1616431"/>
                  <a:pt x="375631" y="859582"/>
                  <a:pt x="268199" y="0"/>
                </a:cubicBezTo>
                <a:lnTo>
                  <a:pt x="0" y="0"/>
                </a:lnTo>
                <a:cubicBezTo>
                  <a:pt x="109209" y="905044"/>
                  <a:pt x="342868" y="1703545"/>
                  <a:pt x="696149" y="2377979"/>
                </a:cubicBezTo>
                <a:cubicBezTo>
                  <a:pt x="1127527" y="3202131"/>
                  <a:pt x="1740499" y="3853453"/>
                  <a:pt x="2528206" y="4327500"/>
                </a:cubicBezTo>
                <a:close/>
              </a:path>
            </a:pathLst>
          </a:custGeom>
          <a:solidFill>
            <a:srgbClr val="005C82"/>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918575" y="2128838"/>
            <a:ext cx="2552699"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728821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8929687"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13D53B7E-D789-4970-8EF6-A8ACEEEA4426}"/>
              </a:ext>
            </a:extLst>
          </p:cNvPr>
          <p:cNvSpPr/>
          <p:nvPr/>
        </p:nvSpPr>
        <p:spPr>
          <a:xfrm>
            <a:off x="1145" y="0"/>
            <a:ext cx="12191997" cy="6857356"/>
          </a:xfrm>
          <a:custGeom>
            <a:avLst/>
            <a:gdLst>
              <a:gd name="connsiteX0" fmla="*/ 0 w 12191997"/>
              <a:gd name="connsiteY0" fmla="*/ 0 h 6857356"/>
              <a:gd name="connsiteX1" fmla="*/ 12191998 w 12191997"/>
              <a:gd name="connsiteY1" fmla="*/ 0 h 6857356"/>
              <a:gd name="connsiteX2" fmla="*/ 12191998 w 12191997"/>
              <a:gd name="connsiteY2" fmla="*/ 6857356 h 6857356"/>
              <a:gd name="connsiteX3" fmla="*/ 0 w 12191997"/>
              <a:gd name="connsiteY3" fmla="*/ 6857356 h 6857356"/>
            </a:gdLst>
            <a:ahLst/>
            <a:cxnLst>
              <a:cxn ang="0">
                <a:pos x="connsiteX0" y="connsiteY0"/>
              </a:cxn>
              <a:cxn ang="0">
                <a:pos x="connsiteX1" y="connsiteY1"/>
              </a:cxn>
              <a:cxn ang="0">
                <a:pos x="connsiteX2" y="connsiteY2"/>
              </a:cxn>
              <a:cxn ang="0">
                <a:pos x="connsiteX3" y="connsiteY3"/>
              </a:cxn>
            </a:cxnLst>
            <a:rect l="l" t="t" r="r" b="b"/>
            <a:pathLst>
              <a:path w="12191997" h="6857356">
                <a:moveTo>
                  <a:pt x="0" y="0"/>
                </a:moveTo>
                <a:lnTo>
                  <a:pt x="12191998" y="0"/>
                </a:lnTo>
                <a:lnTo>
                  <a:pt x="12191998" y="6857356"/>
                </a:lnTo>
                <a:lnTo>
                  <a:pt x="0" y="6857356"/>
                </a:lnTo>
                <a:close/>
              </a:path>
            </a:pathLst>
          </a:custGeom>
          <a:noFill/>
          <a:ln w="1269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0498395-BC18-46FC-857B-AC4EF1D1550B}"/>
              </a:ext>
            </a:extLst>
          </p:cNvPr>
          <p:cNvSpPr/>
          <p:nvPr/>
        </p:nvSpPr>
        <p:spPr>
          <a:xfrm>
            <a:off x="1145" y="0"/>
            <a:ext cx="12191998" cy="6857356"/>
          </a:xfrm>
          <a:custGeom>
            <a:avLst/>
            <a:gdLst>
              <a:gd name="connsiteX0" fmla="*/ 10359941 w 12191998"/>
              <a:gd name="connsiteY0" fmla="*/ 2377979 h 6857356"/>
              <a:gd name="connsiteX1" fmla="*/ 9663792 w 12191998"/>
              <a:gd name="connsiteY1" fmla="*/ 0 h 6857356"/>
              <a:gd name="connsiteX2" fmla="*/ 0 w 12191998"/>
              <a:gd name="connsiteY2" fmla="*/ 0 h 6857356"/>
              <a:gd name="connsiteX3" fmla="*/ 0 w 12191998"/>
              <a:gd name="connsiteY3" fmla="*/ 6857356 h 6857356"/>
              <a:gd name="connsiteX4" fmla="*/ 12191998 w 12191998"/>
              <a:gd name="connsiteY4" fmla="*/ 6857356 h 6857356"/>
              <a:gd name="connsiteX5" fmla="*/ 12191998 w 12191998"/>
              <a:gd name="connsiteY5" fmla="*/ 4327500 h 6857356"/>
              <a:gd name="connsiteX6" fmla="*/ 10359941 w 12191998"/>
              <a:gd name="connsiteY6" fmla="*/ 2377979 h 685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6857356">
                <a:moveTo>
                  <a:pt x="10359941" y="2377979"/>
                </a:moveTo>
                <a:cubicBezTo>
                  <a:pt x="10006660" y="1703545"/>
                  <a:pt x="9773002" y="905044"/>
                  <a:pt x="9663792" y="0"/>
                </a:cubicBezTo>
                <a:lnTo>
                  <a:pt x="0" y="0"/>
                </a:lnTo>
                <a:lnTo>
                  <a:pt x="0" y="6857356"/>
                </a:lnTo>
                <a:lnTo>
                  <a:pt x="12191998" y="6857356"/>
                </a:lnTo>
                <a:lnTo>
                  <a:pt x="12191998" y="4327500"/>
                </a:lnTo>
                <a:cubicBezTo>
                  <a:pt x="11404291" y="3853453"/>
                  <a:pt x="10791319" y="3202131"/>
                  <a:pt x="10359941" y="2377979"/>
                </a:cubicBez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4608677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ntent and Large Image">
    <p:bg>
      <p:bgPr>
        <a:solidFill>
          <a:schemeClr val="accent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8D6020D-1F24-427E-AFFD-B74FAE976B9B}"/>
              </a:ext>
            </a:extLst>
          </p:cNvPr>
          <p:cNvGrpSpPr/>
          <p:nvPr userDrawn="1"/>
        </p:nvGrpSpPr>
        <p:grpSpPr>
          <a:xfrm>
            <a:off x="6140583" y="1514596"/>
            <a:ext cx="6052444" cy="5343401"/>
            <a:chOff x="6140583" y="1514596"/>
            <a:chExt cx="6052444" cy="5343401"/>
          </a:xfrm>
        </p:grpSpPr>
        <p:sp>
          <p:nvSpPr>
            <p:cNvPr id="17" name="Freeform: Shape 16">
              <a:extLst>
                <a:ext uri="{FF2B5EF4-FFF2-40B4-BE49-F238E27FC236}">
                  <a16:creationId xmlns:a16="http://schemas.microsoft.com/office/drawing/2014/main" id="{1A9AE98D-929D-4305-8E20-BEE836EA715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0F3C96E-5D9C-4E33-A548-A25E9BEC1E8A}"/>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85557CA-AED1-46C0-B285-11DD0961E0F3}"/>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990937"/>
            <a:ext cx="7108826"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6" y="2128838"/>
            <a:ext cx="7108827"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1"/>
                </a:solidFill>
                <a:latin typeface="+mj-lt"/>
              </a:defRPr>
            </a:lvl7pPr>
            <a:lvl8pPr marL="0" indent="0" algn="l">
              <a:lnSpc>
                <a:spcPct val="100000"/>
              </a:lnSpc>
              <a:spcBef>
                <a:spcPts val="0"/>
              </a:spcBef>
              <a:buNone/>
              <a:defRPr sz="1800" i="1">
                <a:solidFill>
                  <a:schemeClr val="tx2"/>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6" y="666745"/>
            <a:ext cx="7108827" cy="1368000"/>
          </a:xfrm>
        </p:spPr>
        <p:txBody>
          <a:bodyPr/>
          <a:lstStyle/>
          <a:p>
            <a:pPr lvl="0"/>
            <a:r>
              <a:rPr lang="en-US"/>
              <a:t>Click to edit Master title style</a:t>
            </a:r>
            <a:endParaRPr lang="en-GB" dirty="0"/>
          </a:p>
        </p:txBody>
      </p:sp>
      <p:sp>
        <p:nvSpPr>
          <p:cNvPr id="20" name="Freeform: Shape 19">
            <a:extLst>
              <a:ext uri="{FF2B5EF4-FFF2-40B4-BE49-F238E27FC236}">
                <a16:creationId xmlns:a16="http://schemas.microsoft.com/office/drawing/2014/main" id="{8ECF9D0E-6D6B-4A9D-9688-3D0EC0BC5D39}"/>
              </a:ext>
            </a:extLst>
          </p:cNvPr>
          <p:cNvSpPr/>
          <p:nvPr/>
        </p:nvSpPr>
        <p:spPr>
          <a:xfrm>
            <a:off x="1" y="-7"/>
            <a:ext cx="12193153" cy="6858005"/>
          </a:xfrm>
          <a:custGeom>
            <a:avLst/>
            <a:gdLst>
              <a:gd name="connsiteX0" fmla="*/ 0 w 12193153"/>
              <a:gd name="connsiteY0" fmla="*/ 0 h 6858005"/>
              <a:gd name="connsiteX1" fmla="*/ 12193153 w 12193153"/>
              <a:gd name="connsiteY1" fmla="*/ 0 h 6858005"/>
              <a:gd name="connsiteX2" fmla="*/ 12193153 w 12193153"/>
              <a:gd name="connsiteY2" fmla="*/ 6858005 h 6858005"/>
              <a:gd name="connsiteX3" fmla="*/ 0 w 12193153"/>
              <a:gd name="connsiteY3" fmla="*/ 6858005 h 6858005"/>
            </a:gdLst>
            <a:ahLst/>
            <a:cxnLst>
              <a:cxn ang="0">
                <a:pos x="connsiteX0" y="connsiteY0"/>
              </a:cxn>
              <a:cxn ang="0">
                <a:pos x="connsiteX1" y="connsiteY1"/>
              </a:cxn>
              <a:cxn ang="0">
                <a:pos x="connsiteX2" y="connsiteY2"/>
              </a:cxn>
              <a:cxn ang="0">
                <a:pos x="connsiteX3" y="connsiteY3"/>
              </a:cxn>
            </a:cxnLst>
            <a:rect l="l" t="t" r="r" b="b"/>
            <a:pathLst>
              <a:path w="12193153" h="6858005">
                <a:moveTo>
                  <a:pt x="0" y="0"/>
                </a:moveTo>
                <a:lnTo>
                  <a:pt x="12193153" y="0"/>
                </a:lnTo>
                <a:lnTo>
                  <a:pt x="12193153" y="6858005"/>
                </a:lnTo>
                <a:lnTo>
                  <a:pt x="0" y="6858005"/>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4363447"/>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Large Image">
    <p:bg>
      <p:bgPr>
        <a:solidFill>
          <a:schemeClr val="accent4"/>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F738942-6048-45C4-98D8-C0116A51019A}"/>
              </a:ext>
            </a:extLst>
          </p:cNvPr>
          <p:cNvGrpSpPr/>
          <p:nvPr userDrawn="1"/>
        </p:nvGrpSpPr>
        <p:grpSpPr>
          <a:xfrm>
            <a:off x="6140583" y="1514596"/>
            <a:ext cx="6052444" cy="5343401"/>
            <a:chOff x="6140583" y="1514596"/>
            <a:chExt cx="6052444" cy="5343401"/>
          </a:xfrm>
        </p:grpSpPr>
        <p:sp>
          <p:nvSpPr>
            <p:cNvPr id="18" name="Freeform: Shape 17">
              <a:extLst>
                <a:ext uri="{FF2B5EF4-FFF2-40B4-BE49-F238E27FC236}">
                  <a16:creationId xmlns:a16="http://schemas.microsoft.com/office/drawing/2014/main" id="{05D24422-BEC0-46DA-A735-2F65A8E5017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23FD5AC-26EE-4EB7-A613-3325FAB84AA3}"/>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9417C80-6101-47AB-B3F7-40A05CC3A2EA}"/>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91BA52AE-9ABC-4055-9C13-8C8165D9881B}"/>
              </a:ext>
            </a:extLst>
          </p:cNvPr>
          <p:cNvSpPr>
            <a:spLocks noGrp="1"/>
          </p:cNvSpPr>
          <p:nvPr>
            <p:ph idx="14"/>
          </p:nvPr>
        </p:nvSpPr>
        <p:spPr>
          <a:xfrm>
            <a:off x="4364038" y="2990638"/>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990639"/>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2128838"/>
            <a:ext cx="7108826"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598337872"/>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A97D11A-B07A-45DD-B5F7-3C1317C2F07A}"/>
              </a:ext>
            </a:extLst>
          </p:cNvPr>
          <p:cNvGrpSpPr/>
          <p:nvPr userDrawn="1"/>
        </p:nvGrpSpPr>
        <p:grpSpPr>
          <a:xfrm>
            <a:off x="0" y="0"/>
            <a:ext cx="5134863" cy="4480922"/>
            <a:chOff x="0" y="0"/>
            <a:chExt cx="5134863" cy="4480922"/>
          </a:xfrm>
        </p:grpSpPr>
        <p:sp>
          <p:nvSpPr>
            <p:cNvPr id="16" name="Freeform: Shape 15">
              <a:extLst>
                <a:ext uri="{FF2B5EF4-FFF2-40B4-BE49-F238E27FC236}">
                  <a16:creationId xmlns:a16="http://schemas.microsoft.com/office/drawing/2014/main" id="{F76299E4-E25F-4038-A9F4-ADCF55EE1965}"/>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rgbClr val="FFE84C"/>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5C98D058-C87A-4B6A-83A1-6235BF2E7E5F}"/>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4375150"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005513" y="3374933"/>
            <a:ext cx="5465761"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6005513" y="2128838"/>
            <a:ext cx="5465761"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384770935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 Content and Image Lef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AADBDED-F3FE-4CAB-88F5-3C5B19159405}"/>
              </a:ext>
            </a:extLst>
          </p:cNvPr>
          <p:cNvGrpSpPr/>
          <p:nvPr userDrawn="1"/>
        </p:nvGrpSpPr>
        <p:grpSpPr>
          <a:xfrm>
            <a:off x="0" y="0"/>
            <a:ext cx="5134863" cy="4480922"/>
            <a:chOff x="0" y="0"/>
            <a:chExt cx="5134863" cy="4480922"/>
          </a:xfrm>
        </p:grpSpPr>
        <p:sp>
          <p:nvSpPr>
            <p:cNvPr id="14" name="Freeform: Shape 13">
              <a:extLst>
                <a:ext uri="{FF2B5EF4-FFF2-40B4-BE49-F238E27FC236}">
                  <a16:creationId xmlns:a16="http://schemas.microsoft.com/office/drawing/2014/main" id="{2F20CED0-286C-49EF-8946-C9362682E66E}"/>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1"/>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27D2956-1F82-4E82-8703-8B886F1DDC2B}"/>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3463924"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5094289" y="3374933"/>
            <a:ext cx="6376986"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5094289" y="2128838"/>
            <a:ext cx="6376986"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5094289" y="666744"/>
            <a:ext cx="6376986"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277414205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2128838"/>
            <a:ext cx="2733673" cy="4006800"/>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6B4CA702-2FD4-456F-AE3B-5E547319FD5E}"/>
              </a:ext>
            </a:extLst>
          </p:cNvPr>
          <p:cNvSpPr>
            <a:spLocks noGrp="1"/>
          </p:cNvSpPr>
          <p:nvPr>
            <p:ph idx="14"/>
          </p:nvPr>
        </p:nvSpPr>
        <p:spPr>
          <a:xfrm>
            <a:off x="43640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3463924"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72603204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Bio 1">
    <p:bg>
      <p:bgPr>
        <a:solidFill>
          <a:schemeClr val="accent5"/>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B05E4C6-B644-4A07-BE10-28429BB2C13E}"/>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tx2"/>
          </a:solidFill>
          <a:ln w="1270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rot="16200000">
            <a:off x="-1628637" y="3068637"/>
            <a:ext cx="5417275"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2541587" y="719997"/>
            <a:ext cx="2552699" cy="1701799"/>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6184901" y="719999"/>
            <a:ext cx="5286374" cy="360001"/>
          </a:xfrm>
        </p:spPr>
        <p:txBody>
          <a:bodyPr>
            <a:noAutofit/>
          </a:bodyPr>
          <a:lstStyle>
            <a:lvl1pPr marL="0">
              <a:lnSpc>
                <a:spcPct val="95000"/>
              </a:lnSpc>
              <a:spcBef>
                <a:spcPts val="0"/>
              </a:spcBef>
              <a:buFontTx/>
              <a:buNone/>
              <a:defRPr sz="2000" i="1">
                <a:solidFill>
                  <a:schemeClr val="tx1"/>
                </a:solidFill>
                <a:latin typeface="+mj-lt"/>
              </a:defRPr>
            </a:lvl1pPr>
            <a:lvl2pPr marL="0" indent="0">
              <a:lnSpc>
                <a:spcPct val="95000"/>
              </a:lnSpc>
              <a:spcBef>
                <a:spcPts val="0"/>
              </a:spcBef>
              <a:buFontTx/>
              <a:buNone/>
              <a:defRPr sz="2000" i="1">
                <a:solidFill>
                  <a:schemeClr val="tx1"/>
                </a:solidFill>
                <a:latin typeface="+mj-lt"/>
              </a:defRPr>
            </a:lvl2pPr>
            <a:lvl3pPr marL="0" indent="0">
              <a:lnSpc>
                <a:spcPct val="95000"/>
              </a:lnSpc>
              <a:spcBef>
                <a:spcPts val="0"/>
              </a:spcBef>
              <a:buFontTx/>
              <a:buNone/>
              <a:defRPr sz="1800" i="1">
                <a:solidFill>
                  <a:schemeClr val="tx1"/>
                </a:solidFill>
                <a:latin typeface="+mj-lt"/>
              </a:defRPr>
            </a:lvl3pPr>
            <a:lvl4pPr marL="0" indent="0">
              <a:lnSpc>
                <a:spcPct val="95000"/>
              </a:lnSpc>
              <a:spcBef>
                <a:spcPts val="0"/>
              </a:spcBef>
              <a:buFontTx/>
              <a:buNone/>
              <a:defRPr sz="1600" i="1">
                <a:solidFill>
                  <a:schemeClr val="tx1"/>
                </a:solidFill>
                <a:latin typeface="+mj-lt"/>
              </a:defRPr>
            </a:lvl4pPr>
            <a:lvl5pPr marL="0" indent="0">
              <a:lnSpc>
                <a:spcPct val="95000"/>
              </a:lnSpc>
              <a:spcBef>
                <a:spcPts val="0"/>
              </a:spcBef>
              <a:buFontTx/>
              <a:buNone/>
              <a:defRPr sz="1600" i="1">
                <a:solidFill>
                  <a:schemeClr val="tx1"/>
                </a:solidFill>
                <a:latin typeface="+mj-lt"/>
              </a:defRPr>
            </a:lvl5pPr>
            <a:lvl6pPr marL="0" indent="0">
              <a:lnSpc>
                <a:spcPct val="95000"/>
              </a:lnSpc>
              <a:spcBef>
                <a:spcPts val="0"/>
              </a:spcBef>
              <a:buFontTx/>
              <a:buNone/>
              <a:defRPr sz="1600" i="1">
                <a:solidFill>
                  <a:schemeClr val="tx1"/>
                </a:solidFill>
                <a:latin typeface="+mj-lt"/>
              </a:defRPr>
            </a:lvl6pPr>
            <a:lvl7pPr marL="0">
              <a:lnSpc>
                <a:spcPct val="95000"/>
              </a:lnSpc>
              <a:spcBef>
                <a:spcPts val="0"/>
              </a:spcBef>
              <a:buFontTx/>
              <a:buNone/>
              <a:defRPr sz="1600" i="1">
                <a:solidFill>
                  <a:schemeClr val="tx1"/>
                </a:solidFill>
                <a:latin typeface="+mj-lt"/>
              </a:defRPr>
            </a:lvl7pPr>
            <a:lvl8pPr marL="0">
              <a:lnSpc>
                <a:spcPct val="95000"/>
              </a:lnSpc>
              <a:spcBef>
                <a:spcPts val="0"/>
              </a:spcBef>
              <a:buFontTx/>
              <a:buNone/>
              <a:defRPr sz="1600" i="1">
                <a:solidFill>
                  <a:schemeClr val="tx1"/>
                </a:solidFill>
                <a:latin typeface="+mj-lt"/>
              </a:defRPr>
            </a:lvl8pPr>
            <a:lvl9pPr marL="0">
              <a:lnSpc>
                <a:spcPct val="95000"/>
              </a:lnSpc>
              <a:spcBef>
                <a:spcPts val="0"/>
              </a:spcBef>
              <a:buFontTx/>
              <a:buNone/>
              <a:defRPr sz="16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6184901" y="1259999"/>
            <a:ext cx="2217636" cy="482274"/>
          </a:xfrm>
          <a:prstGeom prst="roundRect">
            <a:avLst>
              <a:gd name="adj" fmla="val 50000"/>
            </a:avLst>
          </a:prstGeom>
          <a:solidFill>
            <a:schemeClr val="accent2"/>
          </a:solidFill>
        </p:spPr>
        <p:txBody>
          <a:bodyPr wrap="none" lIns="72000" tIns="54000" rIns="72000" bIns="54000" anchor="ctr" anchorCtr="0">
            <a:spAutoFit/>
          </a:bodyPr>
          <a:lstStyle>
            <a:lvl1pPr marL="0" indent="0">
              <a:lnSpc>
                <a:spcPct val="95000"/>
              </a:lnSpc>
              <a:spcBef>
                <a:spcPts val="0"/>
              </a:spcBef>
              <a:buFont typeface="Arial" panose="020B0604020202020204" pitchFamily="34" charset="0"/>
              <a:buNone/>
              <a:defRPr sz="1600" i="1">
                <a:solidFill>
                  <a:schemeClr val="tx1"/>
                </a:solidFill>
                <a:latin typeface="+mj-lt"/>
              </a:defRPr>
            </a:lvl1pPr>
            <a:lvl2pPr marL="0" indent="0">
              <a:lnSpc>
                <a:spcPct val="95000"/>
              </a:lnSpc>
              <a:spcBef>
                <a:spcPts val="0"/>
              </a:spcBef>
              <a:buNone/>
              <a:defRPr sz="1600" i="1">
                <a:solidFill>
                  <a:schemeClr val="tx1"/>
                </a:solidFill>
                <a:latin typeface="+mj-lt"/>
              </a:defRPr>
            </a:lvl2pPr>
            <a:lvl3pPr marL="0" indent="0">
              <a:lnSpc>
                <a:spcPct val="95000"/>
              </a:lnSpc>
              <a:spcBef>
                <a:spcPts val="0"/>
              </a:spcBef>
              <a:buNone/>
              <a:defRPr sz="1600" i="1">
                <a:solidFill>
                  <a:schemeClr val="tx1"/>
                </a:solidFill>
                <a:latin typeface="+mj-lt"/>
              </a:defRPr>
            </a:lvl3pPr>
            <a:lvl4pPr marL="0" indent="0">
              <a:lnSpc>
                <a:spcPct val="95000"/>
              </a:lnSpc>
              <a:spcBef>
                <a:spcPts val="0"/>
              </a:spcBef>
              <a:buNone/>
              <a:defRPr sz="1600" i="1">
                <a:solidFill>
                  <a:schemeClr val="tx1"/>
                </a:solidFill>
                <a:latin typeface="+mj-lt"/>
              </a:defRPr>
            </a:lvl4pPr>
            <a:lvl5pPr marL="0" indent="0">
              <a:lnSpc>
                <a:spcPct val="95000"/>
              </a:lnSpc>
              <a:spcBef>
                <a:spcPts val="0"/>
              </a:spcBef>
              <a:buFont typeface="Arial" panose="020B0604020202020204" pitchFamily="34" charset="0"/>
              <a:buNone/>
              <a:defRPr sz="1600" i="1">
                <a:solidFill>
                  <a:schemeClr val="tx1"/>
                </a:solidFill>
                <a:latin typeface="+mj-lt"/>
              </a:defRPr>
            </a:lvl5pPr>
            <a:lvl6pPr marL="0" indent="0">
              <a:lnSpc>
                <a:spcPct val="95000"/>
              </a:lnSpc>
              <a:spcBef>
                <a:spcPts val="0"/>
              </a:spcBef>
              <a:buFont typeface="Arial" panose="020B0604020202020204" pitchFamily="34" charset="0"/>
              <a:buNone/>
              <a:defRPr sz="1600" i="1">
                <a:solidFill>
                  <a:schemeClr val="tx1"/>
                </a:solidFill>
                <a:latin typeface="+mj-lt"/>
              </a:defRPr>
            </a:lvl6pPr>
            <a:lvl7pPr marL="0" indent="0">
              <a:lnSpc>
                <a:spcPct val="95000"/>
              </a:lnSpc>
              <a:spcBef>
                <a:spcPts val="0"/>
              </a:spcBef>
              <a:buFont typeface="Arial" panose="020B0604020202020204" pitchFamily="34" charset="0"/>
              <a:buNone/>
              <a:defRPr sz="1600" i="1">
                <a:solidFill>
                  <a:schemeClr val="tx1"/>
                </a:solidFill>
                <a:latin typeface="+mj-lt"/>
              </a:defRPr>
            </a:lvl7pPr>
            <a:lvl8pPr marL="0" indent="0">
              <a:lnSpc>
                <a:spcPct val="95000"/>
              </a:lnSpc>
              <a:spcBef>
                <a:spcPts val="0"/>
              </a:spcBef>
              <a:buFont typeface="Arial" panose="020B0604020202020204" pitchFamily="34" charset="0"/>
              <a:buNone/>
              <a:defRPr sz="1600" i="1">
                <a:solidFill>
                  <a:schemeClr val="tx1"/>
                </a:solidFill>
                <a:latin typeface="+mj-lt"/>
              </a:defRPr>
            </a:lvl8pPr>
            <a:lvl9pPr marL="0" indent="0">
              <a:lnSpc>
                <a:spcPct val="95000"/>
              </a:lnSpc>
              <a:spcBef>
                <a:spcPts val="0"/>
              </a:spcBef>
              <a:buFont typeface="Arial" panose="020B0604020202020204" pitchFamily="34" charset="0"/>
              <a:buNone/>
              <a:defRPr sz="1600" i="1">
                <a:solidFill>
                  <a:schemeClr val="tx1"/>
                </a:solidFill>
                <a:latin typeface="+mj-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6184901" y="1922273"/>
            <a:ext cx="5286374" cy="468000"/>
          </a:xfrm>
        </p:spPr>
        <p:txBody>
          <a:bodyPr>
            <a:noAutofit/>
          </a:bodyPr>
          <a:lstStyle>
            <a:lvl1pPr marL="0" indent="0">
              <a:lnSpc>
                <a:spcPct val="95000"/>
              </a:lnSpc>
              <a:spcBef>
                <a:spcPts val="300"/>
              </a:spcBef>
              <a:buFont typeface="Arial" panose="020B0604020202020204" pitchFamily="34" charset="0"/>
              <a:buNone/>
              <a:defRPr sz="1400">
                <a:solidFill>
                  <a:schemeClr val="tx1"/>
                </a:solidFill>
                <a:latin typeface="+mn-lt"/>
              </a:defRPr>
            </a:lvl1pPr>
            <a:lvl2pPr marL="0" indent="0">
              <a:lnSpc>
                <a:spcPct val="95000"/>
              </a:lnSpc>
              <a:spcBef>
                <a:spcPts val="300"/>
              </a:spcBef>
              <a:buNone/>
              <a:defRPr sz="1200">
                <a:solidFill>
                  <a:schemeClr val="tx1"/>
                </a:solidFill>
                <a:latin typeface="+mn-lt"/>
              </a:defRPr>
            </a:lvl2pPr>
            <a:lvl3pPr marL="0" indent="0">
              <a:lnSpc>
                <a:spcPct val="95000"/>
              </a:lnSpc>
              <a:spcBef>
                <a:spcPts val="300"/>
              </a:spcBef>
              <a:buNone/>
              <a:defRPr sz="1100">
                <a:solidFill>
                  <a:schemeClr val="tx1"/>
                </a:solidFill>
                <a:latin typeface="+mn-lt"/>
              </a:defRPr>
            </a:lvl3pPr>
            <a:lvl4pPr marL="0" indent="0">
              <a:lnSpc>
                <a:spcPct val="95000"/>
              </a:lnSpc>
              <a:spcBef>
                <a:spcPts val="300"/>
              </a:spcBef>
              <a:buNone/>
              <a:defRPr sz="1100">
                <a:solidFill>
                  <a:schemeClr val="tx1"/>
                </a:solidFill>
                <a:latin typeface="+mn-lt"/>
              </a:defRPr>
            </a:lvl4pPr>
            <a:lvl5pPr marL="0" indent="0">
              <a:lnSpc>
                <a:spcPct val="95000"/>
              </a:lnSpc>
              <a:spcBef>
                <a:spcPts val="300"/>
              </a:spcBef>
              <a:buFont typeface="Arial" panose="020B0604020202020204" pitchFamily="34" charset="0"/>
              <a:buNone/>
              <a:defRPr sz="1100">
                <a:solidFill>
                  <a:schemeClr val="tx1"/>
                </a:solidFill>
                <a:latin typeface="+mn-lt"/>
              </a:defRPr>
            </a:lvl5pPr>
            <a:lvl6pPr marL="0" indent="0">
              <a:lnSpc>
                <a:spcPct val="95000"/>
              </a:lnSpc>
              <a:spcBef>
                <a:spcPts val="300"/>
              </a:spcBef>
              <a:buFont typeface="Arial" panose="020B0604020202020204" pitchFamily="34" charset="0"/>
              <a:buNone/>
              <a:defRPr sz="1100">
                <a:solidFill>
                  <a:schemeClr val="tx1"/>
                </a:solidFill>
                <a:latin typeface="+mn-lt"/>
              </a:defRPr>
            </a:lvl6pPr>
            <a:lvl7pPr marL="0" indent="0">
              <a:lnSpc>
                <a:spcPct val="95000"/>
              </a:lnSpc>
              <a:spcBef>
                <a:spcPts val="300"/>
              </a:spcBef>
              <a:buFont typeface="Arial" panose="020B0604020202020204" pitchFamily="34" charset="0"/>
              <a:buNone/>
              <a:defRPr sz="1100">
                <a:solidFill>
                  <a:schemeClr val="tx1"/>
                </a:solidFill>
                <a:latin typeface="+mn-lt"/>
              </a:defRPr>
            </a:lvl7pPr>
            <a:lvl8pPr marL="0" indent="0">
              <a:lnSpc>
                <a:spcPct val="95000"/>
              </a:lnSpc>
              <a:spcBef>
                <a:spcPts val="300"/>
              </a:spcBef>
              <a:buFont typeface="Arial" panose="020B0604020202020204" pitchFamily="34" charset="0"/>
              <a:buNone/>
              <a:defRPr sz="1100">
                <a:solidFill>
                  <a:schemeClr val="tx1"/>
                </a:solidFill>
                <a:latin typeface="+mn-lt"/>
              </a:defRPr>
            </a:lvl8pPr>
            <a:lvl9pPr marL="0" indent="0">
              <a:lnSpc>
                <a:spcPct val="95000"/>
              </a:lnSpc>
              <a:spcBef>
                <a:spcPts val="300"/>
              </a:spcBef>
              <a:buFont typeface="Arial" panose="020B0604020202020204" pitchFamily="34" charset="0"/>
              <a:buNone/>
              <a:defRPr sz="11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6184901" y="2570273"/>
            <a:ext cx="5286374" cy="3567002"/>
          </a:xfrm>
        </p:spPr>
        <p:txBody>
          <a:bodyPr vert="horz" lIns="0" tIns="0" rIns="0" bIns="0" rtlCol="0">
            <a:normAutofit/>
          </a:bodyPr>
          <a:lstStyle>
            <a:lvl1pPr>
              <a:defRPr lang="en-US" dirty="0"/>
            </a:lvl1pPr>
            <a:lvl2pPr>
              <a:defRPr lang="en-US" dirty="0"/>
            </a:lvl2pPr>
            <a:lvl3pPr>
              <a:defRPr lang="en-US" dirty="0"/>
            </a:lvl3pPr>
            <a:lvl4pPr>
              <a:defRPr lang="en-US" dirty="0"/>
            </a:lvl4pPr>
            <a:lvl5pPr marL="0" indent="0">
              <a:lnSpc>
                <a:spcPct val="95000"/>
              </a:lnSpc>
              <a:spcBef>
                <a:spcPts val="800"/>
              </a:spcBef>
              <a:buFont typeface="Arial" panose="020B0604020202020204" pitchFamily="34" charset="0"/>
              <a:buNone/>
              <a:defRPr lang="en-US" sz="1600" dirty="0">
                <a:solidFill>
                  <a:schemeClr val="tx2"/>
                </a:solidFill>
                <a:latin typeface="+mn-lt"/>
              </a:defRPr>
            </a:lvl5pPr>
            <a:lvl6pPr marL="0" indent="0">
              <a:lnSpc>
                <a:spcPct val="95000"/>
              </a:lnSpc>
              <a:spcBef>
                <a:spcPts val="800"/>
              </a:spcBef>
              <a:buFont typeface="Arial" panose="020B0604020202020204" pitchFamily="34" charset="0"/>
              <a:buNone/>
              <a:defRPr lang="en-US" sz="1600" dirty="0">
                <a:solidFill>
                  <a:schemeClr val="tx1"/>
                </a:solidFill>
                <a:latin typeface="+mn-lt"/>
              </a:defRPr>
            </a:lvl6pPr>
            <a:lvl7pPr marL="0" indent="0">
              <a:lnSpc>
                <a:spcPct val="95000"/>
              </a:lnSpc>
              <a:spcBef>
                <a:spcPts val="800"/>
              </a:spcBef>
              <a:buFont typeface="Arial" panose="020B0604020202020204" pitchFamily="34" charset="0"/>
              <a:buNone/>
              <a:defRPr lang="en-US" sz="1600" dirty="0">
                <a:solidFill>
                  <a:schemeClr val="tx1"/>
                </a:solidFill>
                <a:latin typeface="+mn-lt"/>
              </a:defRPr>
            </a:lvl7pPr>
            <a:lvl8pPr marL="0" indent="0">
              <a:lnSpc>
                <a:spcPct val="95000"/>
              </a:lnSpc>
              <a:spcBef>
                <a:spcPts val="800"/>
              </a:spcBef>
              <a:buFont typeface="Arial" panose="020B0604020202020204" pitchFamily="34" charset="0"/>
              <a:buNone/>
              <a:defRPr lang="en-US" sz="1600" dirty="0">
                <a:solidFill>
                  <a:schemeClr val="tx1"/>
                </a:solidFill>
                <a:latin typeface="+mn-lt"/>
              </a:defRPr>
            </a:lvl8pPr>
            <a:lvl9pPr marL="0" indent="0">
              <a:lnSpc>
                <a:spcPct val="95000"/>
              </a:lnSpc>
              <a:spcBef>
                <a:spcPts val="800"/>
              </a:spcBef>
              <a:buFont typeface="Arial" panose="020B0604020202020204" pitchFamily="34" charset="0"/>
              <a:buNone/>
              <a:defRPr lang="en-GB" sz="1600" dirty="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16" name="Text Quotation 1">
            <a:extLst>
              <a:ext uri="{FF2B5EF4-FFF2-40B4-BE49-F238E27FC236}">
                <a16:creationId xmlns:a16="http://schemas.microsoft.com/office/drawing/2014/main" id="{6AD1114A-9EDA-479C-ACC6-49277F39F273}"/>
              </a:ext>
            </a:extLst>
          </p:cNvPr>
          <p:cNvSpPr>
            <a:spLocks noGrp="1"/>
          </p:cNvSpPr>
          <p:nvPr>
            <p:ph type="body" sz="quarter" idx="22" hasCustomPrompt="1"/>
          </p:nvPr>
        </p:nvSpPr>
        <p:spPr>
          <a:xfrm>
            <a:off x="2541588" y="3039291"/>
            <a:ext cx="2552700" cy="2504577"/>
          </a:xfrm>
        </p:spPr>
        <p:txBody>
          <a:bodyPr/>
          <a:lstStyle>
            <a:lvl1pPr marL="0" indent="0">
              <a:lnSpc>
                <a:spcPct val="90000"/>
              </a:lnSpc>
              <a:buFont typeface="Arial" panose="020B0604020202020204" pitchFamily="34" charset="0"/>
              <a:buNone/>
              <a:defRPr sz="2000" i="1">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9" name="Quote Icon">
            <a:extLst>
              <a:ext uri="{FF2B5EF4-FFF2-40B4-BE49-F238E27FC236}">
                <a16:creationId xmlns:a16="http://schemas.microsoft.com/office/drawing/2014/main" id="{7DB0792E-7D00-4D1D-9A1F-8330DCE1DB7A}"/>
              </a:ext>
            </a:extLst>
          </p:cNvPr>
          <p:cNvSpPr>
            <a:spLocks noGrp="1" noChangeAspect="1"/>
          </p:cNvSpPr>
          <p:nvPr>
            <p:ph type="body" sz="quarter" idx="23" hasCustomPrompt="1"/>
          </p:nvPr>
        </p:nvSpPr>
        <p:spPr>
          <a:xfrm>
            <a:off x="1820613" y="3039291"/>
            <a:ext cx="540000" cy="540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3252047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Bio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274"/>
            <a:ext cx="2160000" cy="14400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3488716"/>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719137"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6184900" y="1565274"/>
            <a:ext cx="2160000" cy="14400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6184900"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6184900" y="3488716"/>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6184900"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Bio Description 2">
            <a:extLst>
              <a:ext uri="{FF2B5EF4-FFF2-40B4-BE49-F238E27FC236}">
                <a16:creationId xmlns:a16="http://schemas.microsoft.com/office/drawing/2014/main" id="{546D1641-B818-46C5-869C-6A568D01E42F}"/>
              </a:ext>
            </a:extLst>
          </p:cNvPr>
          <p:cNvSpPr>
            <a:spLocks noGrp="1"/>
          </p:cNvSpPr>
          <p:nvPr>
            <p:ph type="body" sz="quarter" idx="26" hasCustomPrompt="1"/>
          </p:nvPr>
        </p:nvSpPr>
        <p:spPr>
          <a:xfrm>
            <a:off x="6184900"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grpSp>
        <p:nvGrpSpPr>
          <p:cNvPr id="15" name="Group 14">
            <a:extLst>
              <a:ext uri="{FF2B5EF4-FFF2-40B4-BE49-F238E27FC236}">
                <a16:creationId xmlns:a16="http://schemas.microsoft.com/office/drawing/2014/main" id="{399CD1D3-3D7B-4175-B9B5-AABE6DAC6948}"/>
              </a:ext>
            </a:extLst>
          </p:cNvPr>
          <p:cNvGrpSpPr/>
          <p:nvPr userDrawn="1"/>
        </p:nvGrpSpPr>
        <p:grpSpPr>
          <a:xfrm>
            <a:off x="6894610" y="0"/>
            <a:ext cx="5298532" cy="1803399"/>
            <a:chOff x="6894610" y="0"/>
            <a:chExt cx="5298532" cy="1803399"/>
          </a:xfrm>
        </p:grpSpPr>
        <p:sp>
          <p:nvSpPr>
            <p:cNvPr id="10" name="Freeform: Shape 9">
              <a:extLst>
                <a:ext uri="{FF2B5EF4-FFF2-40B4-BE49-F238E27FC236}">
                  <a16:creationId xmlns:a16="http://schemas.microsoft.com/office/drawing/2014/main" id="{52AD3346-80C8-4504-B648-AD22AA2F3ACF}"/>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EB68B2B-7333-44EE-A6A3-9DD6B717F52E}"/>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rgbClr val="9EDED4"/>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215859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Bio 6">
    <p:spTree>
      <p:nvGrpSpPr>
        <p:cNvPr id="1" name=""/>
        <p:cNvGrpSpPr/>
        <p:nvPr/>
      </p:nvGrpSpPr>
      <p:grpSpPr>
        <a:xfrm>
          <a:off x="0" y="0"/>
          <a:ext cx="0" cy="0"/>
          <a:chOff x="0" y="0"/>
          <a:chExt cx="0" cy="0"/>
        </a:xfrm>
      </p:grpSpPr>
      <p:sp>
        <p:nvSpPr>
          <p:cNvPr id="47" name="Picture Placeholder 4">
            <a:extLst>
              <a:ext uri="{FF2B5EF4-FFF2-40B4-BE49-F238E27FC236}">
                <a16:creationId xmlns:a16="http://schemas.microsoft.com/office/drawing/2014/main" id="{FFFFCC4A-5EB9-407D-97EE-22A1FAEF4BB1}"/>
              </a:ext>
            </a:extLst>
          </p:cNvPr>
          <p:cNvSpPr>
            <a:spLocks noGrp="1" noChangeAspect="1"/>
          </p:cNvSpPr>
          <p:nvPr>
            <p:ph type="pic" sz="quarter" idx="31"/>
          </p:nvPr>
        </p:nvSpPr>
        <p:spPr>
          <a:xfrm>
            <a:off x="719137" y="3997256"/>
            <a:ext cx="1366200" cy="910800"/>
          </a:xfrm>
          <a:solidFill>
            <a:schemeClr val="bg2"/>
          </a:solidFill>
        </p:spPr>
        <p:txBody>
          <a:bodyPr/>
          <a:lstStyle/>
          <a:p>
            <a:r>
              <a:rPr lang="en-US"/>
              <a:t>Click icon to add picture</a:t>
            </a:r>
            <a:endParaRPr lang="en-GB" dirty="0"/>
          </a:p>
        </p:txBody>
      </p:sp>
      <p:sp>
        <p:nvSpPr>
          <p:cNvPr id="52" name="Name Placeholder 4">
            <a:extLst>
              <a:ext uri="{FF2B5EF4-FFF2-40B4-BE49-F238E27FC236}">
                <a16:creationId xmlns:a16="http://schemas.microsoft.com/office/drawing/2014/main" id="{81FE4BB9-8A23-4971-A551-0843CC4135B4}"/>
              </a:ext>
            </a:extLst>
          </p:cNvPr>
          <p:cNvSpPr>
            <a:spLocks noGrp="1"/>
          </p:cNvSpPr>
          <p:nvPr>
            <p:ph type="body" sz="quarter" idx="32" hasCustomPrompt="1"/>
          </p:nvPr>
        </p:nvSpPr>
        <p:spPr>
          <a:xfrm>
            <a:off x="719137" y="5016056"/>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3" name="Job Title 4">
            <a:extLst>
              <a:ext uri="{FF2B5EF4-FFF2-40B4-BE49-F238E27FC236}">
                <a16:creationId xmlns:a16="http://schemas.microsoft.com/office/drawing/2014/main" id="{6FB8DF09-CA51-4CE6-AA75-72F870FB85D4}"/>
              </a:ext>
            </a:extLst>
          </p:cNvPr>
          <p:cNvSpPr>
            <a:spLocks noGrp="1"/>
          </p:cNvSpPr>
          <p:nvPr>
            <p:ph type="body" sz="quarter" idx="33" hasCustomPrompt="1"/>
          </p:nvPr>
        </p:nvSpPr>
        <p:spPr>
          <a:xfrm>
            <a:off x="719137" y="5412056"/>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4" name="Contact Details 4">
            <a:extLst>
              <a:ext uri="{FF2B5EF4-FFF2-40B4-BE49-F238E27FC236}">
                <a16:creationId xmlns:a16="http://schemas.microsoft.com/office/drawing/2014/main" id="{3EB728E6-1CBC-4703-BCC2-7BA00104160C}"/>
              </a:ext>
            </a:extLst>
          </p:cNvPr>
          <p:cNvSpPr>
            <a:spLocks noGrp="1"/>
          </p:cNvSpPr>
          <p:nvPr>
            <p:ph type="body" sz="quarter" idx="34" hasCustomPrompt="1"/>
          </p:nvPr>
        </p:nvSpPr>
        <p:spPr>
          <a:xfrm>
            <a:off x="719137" y="5817865"/>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5" name="Picture Placeholder 5">
            <a:extLst>
              <a:ext uri="{FF2B5EF4-FFF2-40B4-BE49-F238E27FC236}">
                <a16:creationId xmlns:a16="http://schemas.microsoft.com/office/drawing/2014/main" id="{879E3977-0FEE-46FC-820F-2B21ED7103C9}"/>
              </a:ext>
            </a:extLst>
          </p:cNvPr>
          <p:cNvSpPr>
            <a:spLocks noGrp="1" noChangeAspect="1"/>
          </p:cNvSpPr>
          <p:nvPr>
            <p:ph type="pic" sz="quarter" idx="35"/>
          </p:nvPr>
        </p:nvSpPr>
        <p:spPr>
          <a:xfrm>
            <a:off x="4364038" y="4001155"/>
            <a:ext cx="1366200" cy="910800"/>
          </a:xfrm>
          <a:solidFill>
            <a:schemeClr val="bg2"/>
          </a:solidFill>
        </p:spPr>
        <p:txBody>
          <a:bodyPr/>
          <a:lstStyle/>
          <a:p>
            <a:r>
              <a:rPr lang="en-US"/>
              <a:t>Click icon to add picture</a:t>
            </a:r>
            <a:endParaRPr lang="en-GB" dirty="0"/>
          </a:p>
        </p:txBody>
      </p:sp>
      <p:sp>
        <p:nvSpPr>
          <p:cNvPr id="56" name="Name Placeholder 5">
            <a:extLst>
              <a:ext uri="{FF2B5EF4-FFF2-40B4-BE49-F238E27FC236}">
                <a16:creationId xmlns:a16="http://schemas.microsoft.com/office/drawing/2014/main" id="{4DD93172-4F19-45F9-AB3C-0D32428D33BF}"/>
              </a:ext>
            </a:extLst>
          </p:cNvPr>
          <p:cNvSpPr>
            <a:spLocks noGrp="1"/>
          </p:cNvSpPr>
          <p:nvPr>
            <p:ph type="body" sz="quarter" idx="36" hasCustomPrompt="1"/>
          </p:nvPr>
        </p:nvSpPr>
        <p:spPr>
          <a:xfrm>
            <a:off x="4364038"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7" name="Job Title 5">
            <a:extLst>
              <a:ext uri="{FF2B5EF4-FFF2-40B4-BE49-F238E27FC236}">
                <a16:creationId xmlns:a16="http://schemas.microsoft.com/office/drawing/2014/main" id="{A3D19A47-4337-4F39-9834-87D7BAD04FA9}"/>
              </a:ext>
            </a:extLst>
          </p:cNvPr>
          <p:cNvSpPr>
            <a:spLocks noGrp="1"/>
          </p:cNvSpPr>
          <p:nvPr>
            <p:ph type="body" sz="quarter" idx="37" hasCustomPrompt="1"/>
          </p:nvPr>
        </p:nvSpPr>
        <p:spPr>
          <a:xfrm>
            <a:off x="4364038" y="5395823"/>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8" name="Contact Details 5">
            <a:extLst>
              <a:ext uri="{FF2B5EF4-FFF2-40B4-BE49-F238E27FC236}">
                <a16:creationId xmlns:a16="http://schemas.microsoft.com/office/drawing/2014/main" id="{900086A4-8295-427F-99DF-31DAD9889407}"/>
              </a:ext>
            </a:extLst>
          </p:cNvPr>
          <p:cNvSpPr>
            <a:spLocks noGrp="1"/>
          </p:cNvSpPr>
          <p:nvPr>
            <p:ph type="body" sz="quarter" idx="38" hasCustomPrompt="1"/>
          </p:nvPr>
        </p:nvSpPr>
        <p:spPr>
          <a:xfrm>
            <a:off x="4364038"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9" name="Picture Placeholder 6">
            <a:extLst>
              <a:ext uri="{FF2B5EF4-FFF2-40B4-BE49-F238E27FC236}">
                <a16:creationId xmlns:a16="http://schemas.microsoft.com/office/drawing/2014/main" id="{758D5642-E56B-4C4F-BD98-E87D6EB12962}"/>
              </a:ext>
            </a:extLst>
          </p:cNvPr>
          <p:cNvSpPr>
            <a:spLocks noGrp="1" noChangeAspect="1"/>
          </p:cNvSpPr>
          <p:nvPr>
            <p:ph type="pic" sz="quarter" idx="39"/>
          </p:nvPr>
        </p:nvSpPr>
        <p:spPr>
          <a:xfrm>
            <a:off x="8008939" y="4001155"/>
            <a:ext cx="1366200" cy="910800"/>
          </a:xfrm>
          <a:solidFill>
            <a:schemeClr val="bg2"/>
          </a:solidFill>
        </p:spPr>
        <p:txBody>
          <a:bodyPr/>
          <a:lstStyle/>
          <a:p>
            <a:r>
              <a:rPr lang="en-US"/>
              <a:t>Click icon to add picture</a:t>
            </a:r>
            <a:endParaRPr lang="en-GB" dirty="0"/>
          </a:p>
        </p:txBody>
      </p:sp>
      <p:sp>
        <p:nvSpPr>
          <p:cNvPr id="60" name="Name Placeholder 6">
            <a:extLst>
              <a:ext uri="{FF2B5EF4-FFF2-40B4-BE49-F238E27FC236}">
                <a16:creationId xmlns:a16="http://schemas.microsoft.com/office/drawing/2014/main" id="{62BC04E0-B094-4F2E-A4D4-A68642592CB7}"/>
              </a:ext>
            </a:extLst>
          </p:cNvPr>
          <p:cNvSpPr>
            <a:spLocks noGrp="1"/>
          </p:cNvSpPr>
          <p:nvPr>
            <p:ph type="body" sz="quarter" idx="40" hasCustomPrompt="1"/>
          </p:nvPr>
        </p:nvSpPr>
        <p:spPr>
          <a:xfrm>
            <a:off x="8008939"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61" name="Job Title 6">
            <a:extLst>
              <a:ext uri="{FF2B5EF4-FFF2-40B4-BE49-F238E27FC236}">
                <a16:creationId xmlns:a16="http://schemas.microsoft.com/office/drawing/2014/main" id="{4CD61B50-A333-417F-AB60-C160340391A8}"/>
              </a:ext>
            </a:extLst>
          </p:cNvPr>
          <p:cNvSpPr>
            <a:spLocks noGrp="1"/>
          </p:cNvSpPr>
          <p:nvPr>
            <p:ph type="body" sz="quarter" idx="41" hasCustomPrompt="1"/>
          </p:nvPr>
        </p:nvSpPr>
        <p:spPr>
          <a:xfrm>
            <a:off x="8008939" y="5395823"/>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62" name="Contact Details 6">
            <a:extLst>
              <a:ext uri="{FF2B5EF4-FFF2-40B4-BE49-F238E27FC236}">
                <a16:creationId xmlns:a16="http://schemas.microsoft.com/office/drawing/2014/main" id="{1A05B0D5-0358-4010-BDE0-FFE7305E079B}"/>
              </a:ext>
            </a:extLst>
          </p:cNvPr>
          <p:cNvSpPr>
            <a:spLocks noGrp="1"/>
          </p:cNvSpPr>
          <p:nvPr>
            <p:ph type="body" sz="quarter" idx="42" hasCustomPrompt="1"/>
          </p:nvPr>
        </p:nvSpPr>
        <p:spPr>
          <a:xfrm>
            <a:off x="8008939"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375"/>
            <a:ext cx="1366200" cy="9108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2980175"/>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4364038" y="1565375"/>
            <a:ext cx="1366200" cy="9108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4364038"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4364038" y="2980175"/>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4364038"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8" name="Picture Placeholder 3">
            <a:extLst>
              <a:ext uri="{FF2B5EF4-FFF2-40B4-BE49-F238E27FC236}">
                <a16:creationId xmlns:a16="http://schemas.microsoft.com/office/drawing/2014/main" id="{D376AA3C-4E82-4D08-9202-51469C989558}"/>
              </a:ext>
            </a:extLst>
          </p:cNvPr>
          <p:cNvSpPr>
            <a:spLocks noGrp="1" noChangeAspect="1"/>
          </p:cNvSpPr>
          <p:nvPr>
            <p:ph type="pic" sz="quarter" idx="27"/>
          </p:nvPr>
        </p:nvSpPr>
        <p:spPr>
          <a:xfrm>
            <a:off x="8008939" y="1565376"/>
            <a:ext cx="1366200" cy="910800"/>
          </a:xfrm>
          <a:solidFill>
            <a:schemeClr val="bg2"/>
          </a:solidFill>
        </p:spPr>
        <p:txBody>
          <a:bodyPr/>
          <a:lstStyle/>
          <a:p>
            <a:r>
              <a:rPr lang="en-US"/>
              <a:t>Click icon to add picture</a:t>
            </a:r>
            <a:endParaRPr lang="en-GB" dirty="0"/>
          </a:p>
        </p:txBody>
      </p:sp>
      <p:sp>
        <p:nvSpPr>
          <p:cNvPr id="49" name="Name Placeholder 3">
            <a:extLst>
              <a:ext uri="{FF2B5EF4-FFF2-40B4-BE49-F238E27FC236}">
                <a16:creationId xmlns:a16="http://schemas.microsoft.com/office/drawing/2014/main" id="{0B2DDA88-23CF-4A0E-BC64-8920EF581112}"/>
              </a:ext>
            </a:extLst>
          </p:cNvPr>
          <p:cNvSpPr>
            <a:spLocks noGrp="1"/>
          </p:cNvSpPr>
          <p:nvPr>
            <p:ph type="body" sz="quarter" idx="28" hasCustomPrompt="1"/>
          </p:nvPr>
        </p:nvSpPr>
        <p:spPr>
          <a:xfrm>
            <a:off x="8008939" y="2584602"/>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0" name="Job Title 3">
            <a:extLst>
              <a:ext uri="{FF2B5EF4-FFF2-40B4-BE49-F238E27FC236}">
                <a16:creationId xmlns:a16="http://schemas.microsoft.com/office/drawing/2014/main" id="{FF803BEF-346B-4A1E-9346-FD32D891CE7A}"/>
              </a:ext>
            </a:extLst>
          </p:cNvPr>
          <p:cNvSpPr>
            <a:spLocks noGrp="1"/>
          </p:cNvSpPr>
          <p:nvPr>
            <p:ph type="body" sz="quarter" idx="29" hasCustomPrompt="1"/>
          </p:nvPr>
        </p:nvSpPr>
        <p:spPr>
          <a:xfrm>
            <a:off x="8008939" y="2960044"/>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1" name="Contact Details 3">
            <a:extLst>
              <a:ext uri="{FF2B5EF4-FFF2-40B4-BE49-F238E27FC236}">
                <a16:creationId xmlns:a16="http://schemas.microsoft.com/office/drawing/2014/main" id="{39386C32-2455-497F-A545-94ED15C248D3}"/>
              </a:ext>
            </a:extLst>
          </p:cNvPr>
          <p:cNvSpPr>
            <a:spLocks noGrp="1"/>
          </p:cNvSpPr>
          <p:nvPr>
            <p:ph type="body" sz="quarter" idx="30" hasCustomPrompt="1"/>
          </p:nvPr>
        </p:nvSpPr>
        <p:spPr>
          <a:xfrm>
            <a:off x="8008939" y="334529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grpSp>
        <p:nvGrpSpPr>
          <p:cNvPr id="40" name="Group 39">
            <a:extLst>
              <a:ext uri="{FF2B5EF4-FFF2-40B4-BE49-F238E27FC236}">
                <a16:creationId xmlns:a16="http://schemas.microsoft.com/office/drawing/2014/main" id="{490D5149-31BE-41B9-A908-B92CCC4EFA13}"/>
              </a:ext>
            </a:extLst>
          </p:cNvPr>
          <p:cNvGrpSpPr/>
          <p:nvPr userDrawn="1"/>
        </p:nvGrpSpPr>
        <p:grpSpPr>
          <a:xfrm>
            <a:off x="6894610" y="0"/>
            <a:ext cx="5298532" cy="1803399"/>
            <a:chOff x="6894610" y="0"/>
            <a:chExt cx="5298532" cy="1803399"/>
          </a:xfrm>
        </p:grpSpPr>
        <p:sp>
          <p:nvSpPr>
            <p:cNvPr id="41" name="Freeform: Shape 40">
              <a:extLst>
                <a:ext uri="{FF2B5EF4-FFF2-40B4-BE49-F238E27FC236}">
                  <a16:creationId xmlns:a16="http://schemas.microsoft.com/office/drawing/2014/main" id="{3FA1111A-1FB1-4DAC-A008-B937A876EAB6}"/>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E30CC355-5F57-48F1-B6A8-94BED44F0FF4}"/>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5"/>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288190155"/>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7355E78-E0F2-42FF-BDE9-9CC7C36E4A1A}"/>
              </a:ext>
            </a:extLst>
          </p:cNvPr>
          <p:cNvGrpSpPr/>
          <p:nvPr userDrawn="1"/>
        </p:nvGrpSpPr>
        <p:grpSpPr>
          <a:xfrm>
            <a:off x="5267706" y="0"/>
            <a:ext cx="6012052" cy="6857999"/>
            <a:chOff x="5267706" y="0"/>
            <a:chExt cx="6012052" cy="6857999"/>
          </a:xfrm>
        </p:grpSpPr>
        <p:sp>
          <p:nvSpPr>
            <p:cNvPr id="13" name="Freeform: Shape 12">
              <a:extLst>
                <a:ext uri="{FF2B5EF4-FFF2-40B4-BE49-F238E27FC236}">
                  <a16:creationId xmlns:a16="http://schemas.microsoft.com/office/drawing/2014/main" id="{28A40671-E776-46D6-86BE-DB1FE2B7BFED}"/>
                </a:ext>
              </a:extLst>
            </p:cNvPr>
            <p:cNvSpPr/>
            <p:nvPr/>
          </p:nvSpPr>
          <p:spPr>
            <a:xfrm>
              <a:off x="8913557" y="0"/>
              <a:ext cx="2366201"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0E5586-8A0A-48DB-92FC-522751AB95CC}"/>
                </a:ext>
              </a:extLst>
            </p:cNvPr>
            <p:cNvSpPr/>
            <p:nvPr/>
          </p:nvSpPr>
          <p:spPr>
            <a:xfrm>
              <a:off x="5267706" y="1648458"/>
              <a:ext cx="3901887"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solidFill>
                  <a:schemeClr val="tx1"/>
                </a:solidFill>
              </a:defRPr>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78335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30475"/>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30804"/>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5460904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89C16A-6873-4ED1-BBBE-86292872B1C9}"/>
              </a:ext>
            </a:extLst>
          </p:cNvPr>
          <p:cNvGrpSpPr/>
          <p:nvPr userDrawn="1"/>
        </p:nvGrpSpPr>
        <p:grpSpPr>
          <a:xfrm>
            <a:off x="4497704" y="0"/>
            <a:ext cx="7695438" cy="6857999"/>
            <a:chOff x="4497704" y="0"/>
            <a:chExt cx="7695438" cy="6857999"/>
          </a:xfrm>
        </p:grpSpPr>
        <p:sp>
          <p:nvSpPr>
            <p:cNvPr id="12" name="Freeform: Shape 11">
              <a:extLst>
                <a:ext uri="{FF2B5EF4-FFF2-40B4-BE49-F238E27FC236}">
                  <a16:creationId xmlns:a16="http://schemas.microsoft.com/office/drawing/2014/main" id="{A47784D4-F394-4298-980B-E1F707F7A347}"/>
                </a:ext>
              </a:extLst>
            </p:cNvPr>
            <p:cNvSpPr/>
            <p:nvPr/>
          </p:nvSpPr>
          <p:spPr>
            <a:xfrm>
              <a:off x="7431342" y="0"/>
              <a:ext cx="4761800" cy="4407534"/>
            </a:xfrm>
            <a:custGeom>
              <a:avLst/>
              <a:gdLst>
                <a:gd name="connsiteX0" fmla="*/ 443801 w 4761800"/>
                <a:gd name="connsiteY0" fmla="*/ 1671701 h 4407534"/>
                <a:gd name="connsiteX1" fmla="*/ 521905 w 4761800"/>
                <a:gd name="connsiteY1" fmla="*/ 2415540 h 4407534"/>
                <a:gd name="connsiteX2" fmla="*/ 16700 w 4761800"/>
                <a:gd name="connsiteY2" fmla="*/ 4209542 h 4407534"/>
                <a:gd name="connsiteX3" fmla="*/ 68833 w 4761800"/>
                <a:gd name="connsiteY3" fmla="*/ 4390835 h 4407534"/>
                <a:gd name="connsiteX4" fmla="*/ 250126 w 4761800"/>
                <a:gd name="connsiteY4" fmla="*/ 4338701 h 4407534"/>
                <a:gd name="connsiteX5" fmla="*/ 788860 w 4761800"/>
                <a:gd name="connsiteY5" fmla="*/ 2408301 h 4407534"/>
                <a:gd name="connsiteX6" fmla="*/ 728408 w 4761800"/>
                <a:gd name="connsiteY6" fmla="*/ 1713103 h 4407534"/>
                <a:gd name="connsiteX7" fmla="*/ 4761801 w 4761800"/>
                <a:gd name="connsiteY7" fmla="*/ 98806 h 4407534"/>
                <a:gd name="connsiteX8" fmla="*/ 4761801 w 4761800"/>
                <a:gd name="connsiteY8" fmla="*/ 0 h 4407534"/>
                <a:gd name="connsiteX9" fmla="*/ 4290758 w 4761800"/>
                <a:gd name="connsiteY9" fmla="*/ 0 h 4407534"/>
                <a:gd name="connsiteX10" fmla="*/ 521651 w 4761800"/>
                <a:gd name="connsiteY10" fmla="*/ 1508252 h 4407534"/>
                <a:gd name="connsiteX11" fmla="*/ 443800 w 4761800"/>
                <a:gd name="connsiteY11" fmla="*/ 1671701 h 440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1800" h="4407534">
                  <a:moveTo>
                    <a:pt x="443801" y="1671701"/>
                  </a:moveTo>
                  <a:cubicBezTo>
                    <a:pt x="444689" y="1674495"/>
                    <a:pt x="531558" y="1961134"/>
                    <a:pt x="521905" y="2415540"/>
                  </a:cubicBezTo>
                  <a:cubicBezTo>
                    <a:pt x="513142" y="2833751"/>
                    <a:pt x="418274" y="3484499"/>
                    <a:pt x="16700" y="4209542"/>
                  </a:cubicBezTo>
                  <a:cubicBezTo>
                    <a:pt x="-18966" y="4274001"/>
                    <a:pt x="4374" y="4355169"/>
                    <a:pt x="68833" y="4390835"/>
                  </a:cubicBezTo>
                  <a:cubicBezTo>
                    <a:pt x="133292" y="4426501"/>
                    <a:pt x="214459" y="4403160"/>
                    <a:pt x="250126" y="4338701"/>
                  </a:cubicBezTo>
                  <a:cubicBezTo>
                    <a:pt x="681164" y="3560445"/>
                    <a:pt x="780986" y="2859151"/>
                    <a:pt x="788860" y="2408301"/>
                  </a:cubicBezTo>
                  <a:cubicBezTo>
                    <a:pt x="794555" y="2175044"/>
                    <a:pt x="774280" y="1941876"/>
                    <a:pt x="728408" y="1713103"/>
                  </a:cubicBezTo>
                  <a:lnTo>
                    <a:pt x="4761801" y="98806"/>
                  </a:lnTo>
                  <a:lnTo>
                    <a:pt x="4761801" y="0"/>
                  </a:lnTo>
                  <a:lnTo>
                    <a:pt x="4290758" y="0"/>
                  </a:lnTo>
                  <a:lnTo>
                    <a:pt x="521651" y="1508252"/>
                  </a:lnTo>
                  <a:cubicBezTo>
                    <a:pt x="457116" y="1534169"/>
                    <a:pt x="423255" y="1605260"/>
                    <a:pt x="443800" y="1671701"/>
                  </a:cubicBezTo>
                  <a:close/>
                </a:path>
              </a:pathLst>
            </a:custGeom>
            <a:solidFill>
              <a:srgbClr val="FFFFFF"/>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3A0E4423-80C1-414C-BACB-F7E2E50EDCA4}"/>
                </a:ext>
              </a:extLst>
            </p:cNvPr>
            <p:cNvSpPr/>
            <p:nvPr/>
          </p:nvSpPr>
          <p:spPr>
            <a:xfrm>
              <a:off x="6216310" y="4138867"/>
              <a:ext cx="1482415" cy="1748472"/>
            </a:xfrm>
            <a:custGeom>
              <a:avLst/>
              <a:gdLst>
                <a:gd name="connsiteX0" fmla="*/ 133689 w 1482415"/>
                <a:gd name="connsiteY0" fmla="*/ 1748471 h 1748472"/>
                <a:gd name="connsiteX1" fmla="*/ 0 w 1482415"/>
                <a:gd name="connsiteY1" fmla="*/ 1615461 h 1748472"/>
                <a:gd name="connsiteX2" fmla="*/ 44789 w 1482415"/>
                <a:gd name="connsiteY2" fmla="*/ 1515426 h 1748472"/>
                <a:gd name="connsiteX3" fmla="*/ 1231350 w 1482415"/>
                <a:gd name="connsiteY3" fmla="*/ 70674 h 1748472"/>
                <a:gd name="connsiteX4" fmla="*/ 1411741 w 1482415"/>
                <a:gd name="connsiteY4" fmla="*/ 15688 h 1748472"/>
                <a:gd name="connsiteX5" fmla="*/ 1466728 w 1482415"/>
                <a:gd name="connsiteY5" fmla="*/ 196079 h 1748472"/>
                <a:gd name="connsiteX6" fmla="*/ 1464649 w 1482415"/>
                <a:gd name="connsiteY6" fmla="*/ 199833 h 1748472"/>
                <a:gd name="connsiteX7" fmla="*/ 222589 w 1482415"/>
                <a:gd name="connsiteY7" fmla="*/ 1714817 h 1748472"/>
                <a:gd name="connsiteX8" fmla="*/ 133689 w 1482415"/>
                <a:gd name="connsiteY8" fmla="*/ 1748471 h 1748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415" h="1748472">
                  <a:moveTo>
                    <a:pt x="133689" y="1748471"/>
                  </a:moveTo>
                  <a:cubicBezTo>
                    <a:pt x="60042" y="1748659"/>
                    <a:pt x="188" y="1689108"/>
                    <a:pt x="0" y="1615461"/>
                  </a:cubicBezTo>
                  <a:cubicBezTo>
                    <a:pt x="-97" y="1577238"/>
                    <a:pt x="16213" y="1540811"/>
                    <a:pt x="44789" y="1515426"/>
                  </a:cubicBezTo>
                  <a:cubicBezTo>
                    <a:pt x="549614" y="1066736"/>
                    <a:pt x="948902" y="580579"/>
                    <a:pt x="1231350" y="70674"/>
                  </a:cubicBezTo>
                  <a:cubicBezTo>
                    <a:pt x="1265980" y="5677"/>
                    <a:pt x="1346743" y="-18942"/>
                    <a:pt x="1411741" y="15688"/>
                  </a:cubicBezTo>
                  <a:cubicBezTo>
                    <a:pt x="1476739" y="50317"/>
                    <a:pt x="1501358" y="131081"/>
                    <a:pt x="1466728" y="196079"/>
                  </a:cubicBezTo>
                  <a:cubicBezTo>
                    <a:pt x="1466055" y="197341"/>
                    <a:pt x="1465362" y="198593"/>
                    <a:pt x="1464649" y="199833"/>
                  </a:cubicBezTo>
                  <a:cubicBezTo>
                    <a:pt x="1167977" y="736281"/>
                    <a:pt x="749893" y="1245932"/>
                    <a:pt x="222589" y="1714817"/>
                  </a:cubicBezTo>
                  <a:cubicBezTo>
                    <a:pt x="198134" y="1736637"/>
                    <a:pt x="166464" y="1748626"/>
                    <a:pt x="133689" y="1748471"/>
                  </a:cubicBezTo>
                  <a:close/>
                </a:path>
              </a:pathLst>
            </a:custGeom>
            <a:solidFill>
              <a:schemeClr val="accent3"/>
            </a:solid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A4B46DE-4394-48C9-B305-66DE751E2BD2}"/>
                </a:ext>
              </a:extLst>
            </p:cNvPr>
            <p:cNvSpPr/>
            <p:nvPr/>
          </p:nvSpPr>
          <p:spPr>
            <a:xfrm>
              <a:off x="4497704" y="5625924"/>
              <a:ext cx="1986201" cy="1232075"/>
            </a:xfrm>
            <a:custGeom>
              <a:avLst/>
              <a:gdLst>
                <a:gd name="connsiteX0" fmla="*/ 1952752 w 1986201"/>
                <a:gd name="connsiteY0" fmla="*/ 45006 h 1232075"/>
                <a:gd name="connsiteX1" fmla="*/ 1764538 w 1986201"/>
                <a:gd name="connsiteY1" fmla="*/ 33449 h 1232075"/>
                <a:gd name="connsiteX2" fmla="*/ 0 w 1986201"/>
                <a:gd name="connsiteY2" fmla="*/ 1232075 h 1232075"/>
                <a:gd name="connsiteX3" fmla="*/ 545211 w 1986201"/>
                <a:gd name="connsiteY3" fmla="*/ 1232075 h 1232075"/>
                <a:gd name="connsiteX4" fmla="*/ 1941195 w 1986201"/>
                <a:gd name="connsiteY4" fmla="*/ 233220 h 1232075"/>
                <a:gd name="connsiteX5" fmla="*/ 1952752 w 1986201"/>
                <a:gd name="connsiteY5" fmla="*/ 45006 h 123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201" h="1232075">
                  <a:moveTo>
                    <a:pt x="1952752" y="45006"/>
                  </a:moveTo>
                  <a:cubicBezTo>
                    <a:pt x="1903966" y="-10152"/>
                    <a:pt x="1819706" y="-15327"/>
                    <a:pt x="1764538" y="33449"/>
                  </a:cubicBezTo>
                  <a:cubicBezTo>
                    <a:pt x="1275715" y="465249"/>
                    <a:pt x="685673" y="865934"/>
                    <a:pt x="0" y="1232075"/>
                  </a:cubicBezTo>
                  <a:lnTo>
                    <a:pt x="545211" y="1232075"/>
                  </a:lnTo>
                  <a:cubicBezTo>
                    <a:pt x="1073700" y="921179"/>
                    <a:pt x="1539029" y="588228"/>
                    <a:pt x="1941195" y="233220"/>
                  </a:cubicBezTo>
                  <a:cubicBezTo>
                    <a:pt x="1996354" y="184434"/>
                    <a:pt x="2001528" y="100174"/>
                    <a:pt x="1952752" y="45006"/>
                  </a:cubicBezTo>
                  <a:close/>
                </a:path>
              </a:pathLst>
            </a:custGeom>
            <a:solidFill>
              <a:srgbClr val="005C82"/>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i="0">
                <a:solidFill>
                  <a:schemeClr val="tx2"/>
                </a:solidFill>
              </a:defRPr>
            </a:lvl7pPr>
            <a:lvl8pPr>
              <a:defRPr sz="3600" i="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413067155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5"/>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9A1C00-161F-4335-AD8A-90DFCB913095}"/>
              </a:ext>
            </a:extLst>
          </p:cNvPr>
          <p:cNvGrpSpPr/>
          <p:nvPr userDrawn="1"/>
        </p:nvGrpSpPr>
        <p:grpSpPr>
          <a:xfrm>
            <a:off x="0" y="3125464"/>
            <a:ext cx="12193143" cy="3180212"/>
            <a:chOff x="0" y="3125464"/>
            <a:chExt cx="12193143" cy="3180212"/>
          </a:xfrm>
        </p:grpSpPr>
        <p:sp>
          <p:nvSpPr>
            <p:cNvPr id="17" name="Freeform: Shape 16">
              <a:extLst>
                <a:ext uri="{FF2B5EF4-FFF2-40B4-BE49-F238E27FC236}">
                  <a16:creationId xmlns:a16="http://schemas.microsoft.com/office/drawing/2014/main" id="{42A97C56-4CF8-437C-A770-3ADADCEF832F}"/>
                </a:ext>
              </a:extLst>
            </p:cNvPr>
            <p:cNvSpPr/>
            <p:nvPr/>
          </p:nvSpPr>
          <p:spPr>
            <a:xfrm>
              <a:off x="5410804" y="3125464"/>
              <a:ext cx="6782339" cy="2336074"/>
            </a:xfrm>
            <a:custGeom>
              <a:avLst/>
              <a:gdLst>
                <a:gd name="connsiteX0" fmla="*/ 1703989 w 6782339"/>
                <a:gd name="connsiteY0" fmla="*/ 104018 h 2336074"/>
                <a:gd name="connsiteX1" fmla="*/ 1399189 w 6782339"/>
                <a:gd name="connsiteY1" fmla="*/ 787278 h 2336074"/>
                <a:gd name="connsiteX2" fmla="*/ 64674 w 6782339"/>
                <a:gd name="connsiteY2" fmla="*/ 2088393 h 2336074"/>
                <a:gd name="connsiteX3" fmla="*/ 19081 w 6782339"/>
                <a:gd name="connsiteY3" fmla="*/ 2271400 h 2336074"/>
                <a:gd name="connsiteX4" fmla="*/ 202088 w 6782339"/>
                <a:gd name="connsiteY4" fmla="*/ 2316993 h 2336074"/>
                <a:gd name="connsiteX5" fmla="*/ 1634139 w 6782339"/>
                <a:gd name="connsiteY5" fmla="*/ 914151 h 2336074"/>
                <a:gd name="connsiteX6" fmla="*/ 1929796 w 6782339"/>
                <a:gd name="connsiteY6" fmla="*/ 282072 h 2336074"/>
                <a:gd name="connsiteX7" fmla="*/ 6782339 w 6782339"/>
                <a:gd name="connsiteY7" fmla="*/ 989335 h 2336074"/>
                <a:gd name="connsiteX8" fmla="*/ 6782339 w 6782339"/>
                <a:gd name="connsiteY8" fmla="*/ 719714 h 2336074"/>
                <a:gd name="connsiteX9" fmla="*/ 1853596 w 6782339"/>
                <a:gd name="connsiteY9" fmla="*/ 1402 h 2336074"/>
                <a:gd name="connsiteX10" fmla="*/ 1703989 w 6782339"/>
                <a:gd name="connsiteY10" fmla="*/ 104018 h 233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339" h="2336074">
                  <a:moveTo>
                    <a:pt x="1703989" y="104018"/>
                  </a:moveTo>
                  <a:cubicBezTo>
                    <a:pt x="1703355" y="106939"/>
                    <a:pt x="1635283" y="398658"/>
                    <a:pt x="1399189" y="787278"/>
                  </a:cubicBezTo>
                  <a:cubicBezTo>
                    <a:pt x="1182401" y="1145164"/>
                    <a:pt x="774985" y="1661292"/>
                    <a:pt x="64674" y="2088393"/>
                  </a:cubicBezTo>
                  <a:cubicBezTo>
                    <a:pt x="1548" y="2126339"/>
                    <a:pt x="-18865" y="2208274"/>
                    <a:pt x="19081" y="2271400"/>
                  </a:cubicBezTo>
                  <a:cubicBezTo>
                    <a:pt x="57027" y="2334526"/>
                    <a:pt x="138962" y="2354939"/>
                    <a:pt x="202088" y="2316993"/>
                  </a:cubicBezTo>
                  <a:cubicBezTo>
                    <a:pt x="964088" y="1858523"/>
                    <a:pt x="1401602" y="1300993"/>
                    <a:pt x="1634139" y="914151"/>
                  </a:cubicBezTo>
                  <a:cubicBezTo>
                    <a:pt x="1755840" y="715081"/>
                    <a:pt x="1855003" y="503083"/>
                    <a:pt x="1929796" y="282072"/>
                  </a:cubicBezTo>
                  <a:lnTo>
                    <a:pt x="6782339" y="989335"/>
                  </a:lnTo>
                  <a:lnTo>
                    <a:pt x="6782339" y="719714"/>
                  </a:lnTo>
                  <a:lnTo>
                    <a:pt x="1853596" y="1402"/>
                  </a:lnTo>
                  <a:cubicBezTo>
                    <a:pt x="1784603" y="-8618"/>
                    <a:pt x="1719487" y="36046"/>
                    <a:pt x="1703989" y="104018"/>
                  </a:cubicBezTo>
                  <a:close/>
                </a:path>
              </a:pathLst>
            </a:custGeom>
            <a:solidFill>
              <a:srgbClr val="005C8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CB47735-8911-46C6-8029-E5AC6A0462C5}"/>
                </a:ext>
              </a:extLst>
            </p:cNvPr>
            <p:cNvSpPr/>
            <p:nvPr/>
          </p:nvSpPr>
          <p:spPr>
            <a:xfrm>
              <a:off x="0" y="5874198"/>
              <a:ext cx="3882431" cy="431478"/>
            </a:xfrm>
            <a:custGeom>
              <a:avLst/>
              <a:gdLst>
                <a:gd name="connsiteX0" fmla="*/ 3777234 w 3882431"/>
                <a:gd name="connsiteY0" fmla="*/ 263711 h 431478"/>
                <a:gd name="connsiteX1" fmla="*/ 3879392 w 3882431"/>
                <a:gd name="connsiteY1" fmla="*/ 105192 h 431478"/>
                <a:gd name="connsiteX2" fmla="*/ 3724275 w 3882431"/>
                <a:gd name="connsiteY2" fmla="*/ 2345 h 431478"/>
                <a:gd name="connsiteX3" fmla="*/ 0 w 3882431"/>
                <a:gd name="connsiteY3" fmla="*/ 9584 h 431478"/>
                <a:gd name="connsiteX4" fmla="*/ 0 w 3882431"/>
                <a:gd name="connsiteY4" fmla="*/ 279078 h 431478"/>
                <a:gd name="connsiteX5" fmla="*/ 1977390 w 3882431"/>
                <a:gd name="connsiteY5" fmla="*/ 431478 h 431478"/>
                <a:gd name="connsiteX6" fmla="*/ 3777234 w 3882431"/>
                <a:gd name="connsiteY6" fmla="*/ 263711 h 43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431" h="431478">
                  <a:moveTo>
                    <a:pt x="3777234" y="263711"/>
                  </a:moveTo>
                  <a:cubicBezTo>
                    <a:pt x="3849218" y="248147"/>
                    <a:pt x="3894956" y="177176"/>
                    <a:pt x="3879392" y="105192"/>
                  </a:cubicBezTo>
                  <a:cubicBezTo>
                    <a:pt x="3864114" y="34530"/>
                    <a:pt x="3795311" y="-11089"/>
                    <a:pt x="3724275" y="2345"/>
                  </a:cubicBezTo>
                  <a:cubicBezTo>
                    <a:pt x="2669159" y="216467"/>
                    <a:pt x="1418844" y="218245"/>
                    <a:pt x="0" y="9584"/>
                  </a:cubicBezTo>
                  <a:lnTo>
                    <a:pt x="0" y="279078"/>
                  </a:lnTo>
                  <a:cubicBezTo>
                    <a:pt x="699685" y="380678"/>
                    <a:pt x="1358815" y="431478"/>
                    <a:pt x="1977390" y="431478"/>
                  </a:cubicBezTo>
                  <a:cubicBezTo>
                    <a:pt x="2625344" y="431224"/>
                    <a:pt x="3226562" y="375471"/>
                    <a:pt x="3777234" y="263711"/>
                  </a:cubicBezTo>
                  <a:close/>
                </a:path>
              </a:pathLst>
            </a:custGeom>
            <a:solidFill>
              <a:srgbClr val="FFE84C"/>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6585E64C-C0BE-48E1-97AE-3D8C96A7F8EF}"/>
                </a:ext>
              </a:extLst>
            </p:cNvPr>
            <p:cNvSpPr/>
            <p:nvPr/>
          </p:nvSpPr>
          <p:spPr>
            <a:xfrm>
              <a:off x="3619238" y="5194777"/>
              <a:ext cx="2058962" cy="941101"/>
            </a:xfrm>
            <a:custGeom>
              <a:avLst/>
              <a:gdLst>
                <a:gd name="connsiteX0" fmla="*/ 133612 w 2058962"/>
                <a:gd name="connsiteY0" fmla="*/ 941101 h 941101"/>
                <a:gd name="connsiteX1" fmla="*/ 0 w 2058962"/>
                <a:gd name="connsiteY1" fmla="*/ 808013 h 941101"/>
                <a:gd name="connsiteX2" fmla="*/ 106815 w 2058962"/>
                <a:gd name="connsiteY2" fmla="*/ 677068 h 941101"/>
                <a:gd name="connsiteX3" fmla="*/ 1856875 w 2058962"/>
                <a:gd name="connsiteY3" fmla="*/ 19081 h 941101"/>
                <a:gd name="connsiteX4" fmla="*/ 2039882 w 2058962"/>
                <a:gd name="connsiteY4" fmla="*/ 64674 h 941101"/>
                <a:gd name="connsiteX5" fmla="*/ 1994289 w 2058962"/>
                <a:gd name="connsiteY5" fmla="*/ 247681 h 941101"/>
                <a:gd name="connsiteX6" fmla="*/ 160663 w 2058962"/>
                <a:gd name="connsiteY6" fmla="*/ 938307 h 941101"/>
                <a:gd name="connsiteX7" fmla="*/ 133612 w 2058962"/>
                <a:gd name="connsiteY7" fmla="*/ 941101 h 94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962" h="941101">
                  <a:moveTo>
                    <a:pt x="133612" y="941101"/>
                  </a:moveTo>
                  <a:cubicBezTo>
                    <a:pt x="59965" y="941246"/>
                    <a:pt x="145" y="881660"/>
                    <a:pt x="0" y="808013"/>
                  </a:cubicBezTo>
                  <a:cubicBezTo>
                    <a:pt x="-125" y="744496"/>
                    <a:pt x="44568" y="689707"/>
                    <a:pt x="106815" y="677068"/>
                  </a:cubicBezTo>
                  <a:cubicBezTo>
                    <a:pt x="768485" y="540924"/>
                    <a:pt x="1357257" y="319563"/>
                    <a:pt x="1856875" y="19081"/>
                  </a:cubicBezTo>
                  <a:cubicBezTo>
                    <a:pt x="1920001" y="-18865"/>
                    <a:pt x="2001936" y="1548"/>
                    <a:pt x="2039882" y="64674"/>
                  </a:cubicBezTo>
                  <a:cubicBezTo>
                    <a:pt x="2077828" y="127800"/>
                    <a:pt x="2057415" y="209735"/>
                    <a:pt x="1994289" y="247681"/>
                  </a:cubicBezTo>
                  <a:cubicBezTo>
                    <a:pt x="1468763" y="563657"/>
                    <a:pt x="851924" y="796067"/>
                    <a:pt x="160663" y="938307"/>
                  </a:cubicBezTo>
                  <a:cubicBezTo>
                    <a:pt x="151766" y="940166"/>
                    <a:pt x="142701" y="941102"/>
                    <a:pt x="133612" y="941101"/>
                  </a:cubicBezTo>
                  <a:close/>
                </a:path>
              </a:pathLst>
            </a:custGeom>
            <a:solidFill>
              <a:srgbClr val="FFE84C"/>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5142234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DEAB736-E5C7-4F8A-BC12-AD7CF2D2FA68}"/>
              </a:ext>
            </a:extLst>
          </p:cNvPr>
          <p:cNvGrpSpPr/>
          <p:nvPr userDrawn="1"/>
        </p:nvGrpSpPr>
        <p:grpSpPr>
          <a:xfrm>
            <a:off x="2475589" y="1650880"/>
            <a:ext cx="9717299" cy="5207761"/>
            <a:chOff x="2475589" y="1650880"/>
            <a:chExt cx="9717299" cy="5207761"/>
          </a:xfrm>
        </p:grpSpPr>
        <p:sp>
          <p:nvSpPr>
            <p:cNvPr id="9" name="Freeform: Shape 8">
              <a:extLst>
                <a:ext uri="{FF2B5EF4-FFF2-40B4-BE49-F238E27FC236}">
                  <a16:creationId xmlns:a16="http://schemas.microsoft.com/office/drawing/2014/main" id="{DF2E4789-30CF-4562-AC1B-EA9FDF4414BC}"/>
                </a:ext>
              </a:extLst>
            </p:cNvPr>
            <p:cNvSpPr/>
            <p:nvPr/>
          </p:nvSpPr>
          <p:spPr>
            <a:xfrm>
              <a:off x="8234448" y="1650880"/>
              <a:ext cx="3958440" cy="1200309"/>
            </a:xfrm>
            <a:custGeom>
              <a:avLst/>
              <a:gdLst>
                <a:gd name="connsiteX0" fmla="*/ 1853218 w 3958440"/>
                <a:gd name="connsiteY0" fmla="*/ 122840 h 1200309"/>
                <a:gd name="connsiteX1" fmla="*/ 47617 w 3958440"/>
                <a:gd name="connsiteY1" fmla="*/ 964802 h 1200309"/>
                <a:gd name="connsiteX2" fmla="*/ 31225 w 3958440"/>
                <a:gd name="connsiteY2" fmla="*/ 1152691 h 1200309"/>
                <a:gd name="connsiteX3" fmla="*/ 212732 w 3958440"/>
                <a:gd name="connsiteY3" fmla="*/ 1174117 h 1200309"/>
                <a:gd name="connsiteX4" fmla="*/ 1909866 w 3958440"/>
                <a:gd name="connsiteY4" fmla="*/ 383341 h 1200309"/>
                <a:gd name="connsiteX5" fmla="*/ 3958441 w 3958440"/>
                <a:gd name="connsiteY5" fmla="*/ 373180 h 1200309"/>
                <a:gd name="connsiteX6" fmla="*/ 3958441 w 3958440"/>
                <a:gd name="connsiteY6" fmla="*/ 101883 h 1200309"/>
                <a:gd name="connsiteX7" fmla="*/ 3820760 w 3958440"/>
                <a:gd name="connsiteY7" fmla="*/ 74829 h 1200309"/>
                <a:gd name="connsiteX8" fmla="*/ 1853218 w 3958440"/>
                <a:gd name="connsiteY8" fmla="*/ 122840 h 12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8440" h="1200309">
                  <a:moveTo>
                    <a:pt x="1853218" y="122840"/>
                  </a:moveTo>
                  <a:cubicBezTo>
                    <a:pt x="1175229" y="270555"/>
                    <a:pt x="567731" y="553918"/>
                    <a:pt x="47617" y="964802"/>
                  </a:cubicBezTo>
                  <a:cubicBezTo>
                    <a:pt x="-8794" y="1012159"/>
                    <a:pt x="-16133" y="1096280"/>
                    <a:pt x="31225" y="1152691"/>
                  </a:cubicBezTo>
                  <a:cubicBezTo>
                    <a:pt x="76553" y="1206685"/>
                    <a:pt x="156077" y="1216073"/>
                    <a:pt x="212732" y="1174117"/>
                  </a:cubicBezTo>
                  <a:cubicBezTo>
                    <a:pt x="700840" y="788509"/>
                    <a:pt x="1271758" y="522419"/>
                    <a:pt x="1909866" y="383341"/>
                  </a:cubicBezTo>
                  <a:cubicBezTo>
                    <a:pt x="2616687" y="229276"/>
                    <a:pt x="3301916" y="226354"/>
                    <a:pt x="3958441" y="373180"/>
                  </a:cubicBezTo>
                  <a:lnTo>
                    <a:pt x="3958441" y="101883"/>
                  </a:lnTo>
                  <a:cubicBezTo>
                    <a:pt x="3912716" y="92230"/>
                    <a:pt x="3866865" y="83085"/>
                    <a:pt x="3820760" y="74829"/>
                  </a:cubicBezTo>
                  <a:cubicBezTo>
                    <a:pt x="3184049" y="-38973"/>
                    <a:pt x="2522317" y="-22970"/>
                    <a:pt x="1853218" y="122840"/>
                  </a:cubicBezTo>
                  <a:close/>
                </a:path>
              </a:pathLst>
            </a:custGeom>
            <a:solidFill>
              <a:srgbClr val="005C82"/>
            </a:solid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DA31254-47BB-4C08-A50F-3432F5F43124}"/>
                </a:ext>
              </a:extLst>
            </p:cNvPr>
            <p:cNvSpPr/>
            <p:nvPr/>
          </p:nvSpPr>
          <p:spPr>
            <a:xfrm>
              <a:off x="2475589" y="2588626"/>
              <a:ext cx="6015363" cy="4270015"/>
            </a:xfrm>
            <a:custGeom>
              <a:avLst/>
              <a:gdLst>
                <a:gd name="connsiteX0" fmla="*/ 1493152 w 6015363"/>
                <a:gd name="connsiteY0" fmla="*/ 3047907 h 4270015"/>
                <a:gd name="connsiteX1" fmla="*/ 3898250 w 6015363"/>
                <a:gd name="connsiteY1" fmla="*/ 3728183 h 4270015"/>
                <a:gd name="connsiteX2" fmla="*/ 4086697 w 6015363"/>
                <a:gd name="connsiteY2" fmla="*/ 3735832 h 4270015"/>
                <a:gd name="connsiteX3" fmla="*/ 4128903 w 6015363"/>
                <a:gd name="connsiteY3" fmla="*/ 3651976 h 4270015"/>
                <a:gd name="connsiteX4" fmla="*/ 4444782 w 6015363"/>
                <a:gd name="connsiteY4" fmla="*/ 2424152 h 4270015"/>
                <a:gd name="connsiteX5" fmla="*/ 5956858 w 6015363"/>
                <a:gd name="connsiteY5" fmla="*/ 243738 h 4270015"/>
                <a:gd name="connsiteX6" fmla="*/ 5992350 w 6015363"/>
                <a:gd name="connsiteY6" fmla="*/ 58505 h 4270015"/>
                <a:gd name="connsiteX7" fmla="*/ 5807117 w 6015363"/>
                <a:gd name="connsiteY7" fmla="*/ 23013 h 4270015"/>
                <a:gd name="connsiteX8" fmla="*/ 5791743 w 6015363"/>
                <a:gd name="connsiteY8" fmla="*/ 35185 h 4270015"/>
                <a:gd name="connsiteX9" fmla="*/ 4194695 w 6015363"/>
                <a:gd name="connsiteY9" fmla="*/ 2331433 h 4270015"/>
                <a:gd name="connsiteX10" fmla="*/ 3905870 w 6015363"/>
                <a:gd name="connsiteY10" fmla="*/ 3357944 h 4270015"/>
                <a:gd name="connsiteX11" fmla="*/ 2741933 w 6015363"/>
                <a:gd name="connsiteY11" fmla="*/ 2711453 h 4270015"/>
                <a:gd name="connsiteX12" fmla="*/ 1397766 w 6015363"/>
                <a:gd name="connsiteY12" fmla="*/ 2798837 h 4270015"/>
                <a:gd name="connsiteX13" fmla="*/ 334549 w 6015363"/>
                <a:gd name="connsiteY13" fmla="*/ 3611713 h 4270015"/>
                <a:gd name="connsiteX14" fmla="*/ 0 w 6015363"/>
                <a:gd name="connsiteY14" fmla="*/ 4270016 h 4270015"/>
                <a:gd name="connsiteX15" fmla="*/ 283109 w 6015363"/>
                <a:gd name="connsiteY15" fmla="*/ 4270016 h 4270015"/>
                <a:gd name="connsiteX16" fmla="*/ 1493152 w 6015363"/>
                <a:gd name="connsiteY16" fmla="*/ 3047907 h 42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5363" h="4270015">
                  <a:moveTo>
                    <a:pt x="1493152" y="3047907"/>
                  </a:moveTo>
                  <a:cubicBezTo>
                    <a:pt x="2328509" y="2728092"/>
                    <a:pt x="3205145" y="2976019"/>
                    <a:pt x="3898250" y="3728183"/>
                  </a:cubicBezTo>
                  <a:cubicBezTo>
                    <a:pt x="3948176" y="3782334"/>
                    <a:pt x="4032547" y="3785758"/>
                    <a:pt x="4086697" y="3735832"/>
                  </a:cubicBezTo>
                  <a:cubicBezTo>
                    <a:pt x="4110464" y="3713919"/>
                    <a:pt x="4125463" y="3684120"/>
                    <a:pt x="4128903" y="3651976"/>
                  </a:cubicBezTo>
                  <a:cubicBezTo>
                    <a:pt x="4128903" y="3646642"/>
                    <a:pt x="4189234" y="3112175"/>
                    <a:pt x="4444782" y="2424152"/>
                  </a:cubicBezTo>
                  <a:cubicBezTo>
                    <a:pt x="4680007" y="1790998"/>
                    <a:pt x="5133313" y="898612"/>
                    <a:pt x="5956858" y="243738"/>
                  </a:cubicBezTo>
                  <a:cubicBezTo>
                    <a:pt x="6017810" y="202388"/>
                    <a:pt x="6033701" y="119457"/>
                    <a:pt x="5992350" y="58505"/>
                  </a:cubicBezTo>
                  <a:cubicBezTo>
                    <a:pt x="5951000" y="-2447"/>
                    <a:pt x="5868069" y="-18337"/>
                    <a:pt x="5807117" y="23013"/>
                  </a:cubicBezTo>
                  <a:cubicBezTo>
                    <a:pt x="5801701" y="26687"/>
                    <a:pt x="5796562" y="30756"/>
                    <a:pt x="5791743" y="35185"/>
                  </a:cubicBezTo>
                  <a:cubicBezTo>
                    <a:pt x="4919298" y="728035"/>
                    <a:pt x="4441734" y="1666272"/>
                    <a:pt x="4194695" y="2331433"/>
                  </a:cubicBezTo>
                  <a:cubicBezTo>
                    <a:pt x="4070316" y="2665066"/>
                    <a:pt x="3973713" y="3008403"/>
                    <a:pt x="3905870" y="3357944"/>
                  </a:cubicBezTo>
                  <a:cubicBezTo>
                    <a:pt x="3553285" y="3030507"/>
                    <a:pt x="3162724" y="2813444"/>
                    <a:pt x="2741933" y="2711453"/>
                  </a:cubicBezTo>
                  <a:cubicBezTo>
                    <a:pt x="2295429" y="2603066"/>
                    <a:pt x="1826479" y="2633553"/>
                    <a:pt x="1397766" y="2798837"/>
                  </a:cubicBezTo>
                  <a:cubicBezTo>
                    <a:pt x="972378" y="2961580"/>
                    <a:pt x="603137" y="3243881"/>
                    <a:pt x="334549" y="3611713"/>
                  </a:cubicBezTo>
                  <a:cubicBezTo>
                    <a:pt x="187824" y="3811401"/>
                    <a:pt x="74810" y="4033781"/>
                    <a:pt x="0" y="4270016"/>
                  </a:cubicBezTo>
                  <a:lnTo>
                    <a:pt x="283109" y="4270016"/>
                  </a:lnTo>
                  <a:cubicBezTo>
                    <a:pt x="482645" y="3723865"/>
                    <a:pt x="921471" y="3266622"/>
                    <a:pt x="1493152" y="3047907"/>
                  </a:cubicBezTo>
                  <a:close/>
                </a:path>
              </a:pathLst>
            </a:custGeom>
            <a:solidFill>
              <a:srgbClr val="85ABE3"/>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9185939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0264108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3"/>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33486528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Quote Icon">
            <a:extLst>
              <a:ext uri="{FF2B5EF4-FFF2-40B4-BE49-F238E27FC236}">
                <a16:creationId xmlns:a16="http://schemas.microsoft.com/office/drawing/2014/main" id="{AE908A02-8ECE-4103-A82B-C66FB3871F13}"/>
              </a:ext>
            </a:extLst>
          </p:cNvPr>
          <p:cNvSpPr>
            <a:spLocks noGrp="1" noChangeAspect="1"/>
          </p:cNvSpPr>
          <p:nvPr>
            <p:ph type="body" sz="quarter" idx="23" hasCustomPrompt="1"/>
          </p:nvPr>
        </p:nvSpPr>
        <p:spPr>
          <a:xfrm>
            <a:off x="6184900"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10235590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Quote Icon / Statistic">
            <a:extLst>
              <a:ext uri="{FF2B5EF4-FFF2-40B4-BE49-F238E27FC236}">
                <a16:creationId xmlns:a16="http://schemas.microsoft.com/office/drawing/2014/main" id="{32ED2ED7-DFF0-490A-B1BF-4CFE506929CE}"/>
              </a:ext>
            </a:extLst>
          </p:cNvPr>
          <p:cNvSpPr>
            <a:spLocks noGrp="1" noChangeAspect="1"/>
          </p:cNvSpPr>
          <p:nvPr>
            <p:ph type="body" sz="quarter" idx="24" hasCustomPrompt="1"/>
          </p:nvPr>
        </p:nvSpPr>
        <p:spPr>
          <a:xfrm>
            <a:off x="6184900"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2169088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Left 1">
    <p:bg>
      <p:bgPr>
        <a:solidFill>
          <a:schemeClr val="accent3"/>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24" name="Quote Icon">
            <a:extLst>
              <a:ext uri="{FF2B5EF4-FFF2-40B4-BE49-F238E27FC236}">
                <a16:creationId xmlns:a16="http://schemas.microsoft.com/office/drawing/2014/main" id="{66346173-DA66-4D9F-9D8B-CA03323AD95F}"/>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74580E24-C8C1-44DD-9DAF-8C9F2AB5AEE9}"/>
              </a:ext>
            </a:extLst>
          </p:cNvPr>
          <p:cNvGrpSpPr/>
          <p:nvPr userDrawn="1"/>
        </p:nvGrpSpPr>
        <p:grpSpPr>
          <a:xfrm>
            <a:off x="7547448" y="0"/>
            <a:ext cx="4612546" cy="6857999"/>
            <a:chOff x="7547448" y="0"/>
            <a:chExt cx="4612546" cy="6857999"/>
          </a:xfrm>
        </p:grpSpPr>
        <p:sp>
          <p:nvSpPr>
            <p:cNvPr id="15" name="Freeform: Shape 14">
              <a:extLst>
                <a:ext uri="{FF2B5EF4-FFF2-40B4-BE49-F238E27FC236}">
                  <a16:creationId xmlns:a16="http://schemas.microsoft.com/office/drawing/2014/main" id="{DC30B9A7-E7FE-4E69-BB7A-2A29A20473C1}"/>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30B80F-5F39-4055-89EE-8B57F2F12126}"/>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047205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Statistic Left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17551C48-C61C-47BF-A013-FC9EF9B355CD}"/>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A165A3F0-D5F1-4661-94DA-81733AD3F528}"/>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C8083FC4-7BEB-4F09-BB31-D538ADC67860}"/>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3CDC7C8-1F1E-4C25-8520-49CC1BBB6E55}"/>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7965056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Left 2">
    <p:bg>
      <p:bgPr>
        <a:solidFill>
          <a:schemeClr val="accent5"/>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7" name="Quote Icon">
            <a:extLst>
              <a:ext uri="{FF2B5EF4-FFF2-40B4-BE49-F238E27FC236}">
                <a16:creationId xmlns:a16="http://schemas.microsoft.com/office/drawing/2014/main" id="{4AC0413B-EA74-4917-8C17-0F00279AD38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F1F66A29-ED93-4687-9E8C-29DF508B4ECC}"/>
              </a:ext>
            </a:extLst>
          </p:cNvPr>
          <p:cNvGrpSpPr/>
          <p:nvPr userDrawn="1"/>
        </p:nvGrpSpPr>
        <p:grpSpPr>
          <a:xfrm>
            <a:off x="7042973" y="0"/>
            <a:ext cx="2774698" cy="6857999"/>
            <a:chOff x="7042973" y="0"/>
            <a:chExt cx="2774698" cy="6857999"/>
          </a:xfrm>
        </p:grpSpPr>
        <p:sp>
          <p:nvSpPr>
            <p:cNvPr id="15" name="Freeform: Shape 14">
              <a:extLst>
                <a:ext uri="{FF2B5EF4-FFF2-40B4-BE49-F238E27FC236}">
                  <a16:creationId xmlns:a16="http://schemas.microsoft.com/office/drawing/2014/main" id="{CA8CC906-BC20-46AD-BB60-C5A23A3250EF}"/>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E154F5-6119-49F9-8212-0598FE4464EE}"/>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947521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6013343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Statistic Left 2">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4" name="Quote Icon / Statistic">
            <a:extLst>
              <a:ext uri="{FF2B5EF4-FFF2-40B4-BE49-F238E27FC236}">
                <a16:creationId xmlns:a16="http://schemas.microsoft.com/office/drawing/2014/main" id="{F933B12E-A112-4D42-93D5-2D38F7861927}"/>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tx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5" name="Group 14">
            <a:extLst>
              <a:ext uri="{FF2B5EF4-FFF2-40B4-BE49-F238E27FC236}">
                <a16:creationId xmlns:a16="http://schemas.microsoft.com/office/drawing/2014/main" id="{2F50FD1A-8E23-4EE9-9FA6-0FDE4E1D85ED}"/>
              </a:ext>
            </a:extLst>
          </p:cNvPr>
          <p:cNvGrpSpPr/>
          <p:nvPr userDrawn="1"/>
        </p:nvGrpSpPr>
        <p:grpSpPr>
          <a:xfrm>
            <a:off x="7042973" y="0"/>
            <a:ext cx="2774698" cy="6857999"/>
            <a:chOff x="7042973" y="0"/>
            <a:chExt cx="2774698" cy="6857999"/>
          </a:xfrm>
        </p:grpSpPr>
        <p:sp>
          <p:nvSpPr>
            <p:cNvPr id="16" name="Freeform: Shape 15">
              <a:extLst>
                <a:ext uri="{FF2B5EF4-FFF2-40B4-BE49-F238E27FC236}">
                  <a16:creationId xmlns:a16="http://schemas.microsoft.com/office/drawing/2014/main" id="{4E6D31F4-C91C-43CC-85F5-A530E3101F3A}"/>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4F38E0F-7CD5-4BBA-95D9-8369C9118A80}"/>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6233235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Left 3">
    <p:bg>
      <p:bgPr>
        <a:solidFill>
          <a:schemeClr val="accent6"/>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8" name="Quote Icon">
            <a:extLst>
              <a:ext uri="{FF2B5EF4-FFF2-40B4-BE49-F238E27FC236}">
                <a16:creationId xmlns:a16="http://schemas.microsoft.com/office/drawing/2014/main" id="{ED1ABE6B-EC7D-43C9-97DF-9A881CF6739C}"/>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7" name="Group 16">
            <a:extLst>
              <a:ext uri="{FF2B5EF4-FFF2-40B4-BE49-F238E27FC236}">
                <a16:creationId xmlns:a16="http://schemas.microsoft.com/office/drawing/2014/main" id="{29BB6CF9-9291-4113-A7AC-4C75F2D6CF55}"/>
              </a:ext>
            </a:extLst>
          </p:cNvPr>
          <p:cNvGrpSpPr/>
          <p:nvPr userDrawn="1"/>
        </p:nvGrpSpPr>
        <p:grpSpPr>
          <a:xfrm>
            <a:off x="7547448" y="0"/>
            <a:ext cx="4612546" cy="6857999"/>
            <a:chOff x="7547448" y="0"/>
            <a:chExt cx="4612546" cy="6857999"/>
          </a:xfrm>
        </p:grpSpPr>
        <p:sp>
          <p:nvSpPr>
            <p:cNvPr id="19" name="Freeform: Shape 18">
              <a:extLst>
                <a:ext uri="{FF2B5EF4-FFF2-40B4-BE49-F238E27FC236}">
                  <a16:creationId xmlns:a16="http://schemas.microsoft.com/office/drawing/2014/main" id="{4DB04BF7-DF39-4EBE-9D44-70C135CBB8DA}"/>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5BFFD33-2B54-4619-9C49-49884BA7763F}"/>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6312470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Statistic Left 3">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BA592EBC-D3FD-4F62-A485-627134BEB78E}"/>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B48C54C2-4F86-454E-82F5-80FF402FD3C9}"/>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DE469C0B-9D89-40AC-92A1-CE734F755744}"/>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C34488E-32D2-4934-A141-CD80F55CEE6E}"/>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9896680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ccolades">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E949CFC-1E62-4DFE-9903-0273E5EB21C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30" name="Text Placeholder 2">
            <a:extLst>
              <a:ext uri="{FF2B5EF4-FFF2-40B4-BE49-F238E27FC236}">
                <a16:creationId xmlns:a16="http://schemas.microsoft.com/office/drawing/2014/main" id="{E2A2A036-A8C1-4410-8C99-D7E221447D29}"/>
              </a:ext>
            </a:extLst>
          </p:cNvPr>
          <p:cNvSpPr>
            <a:spLocks noGrp="1"/>
          </p:cNvSpPr>
          <p:nvPr>
            <p:ph type="body" sz="quarter" idx="14"/>
          </p:nvPr>
        </p:nvSpPr>
        <p:spPr>
          <a:xfrm>
            <a:off x="8008939" y="3138500"/>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3E4CD5E2-EBB2-4FA3-A395-9363F30B1E9D}"/>
              </a:ext>
            </a:extLst>
          </p:cNvPr>
          <p:cNvSpPr>
            <a:spLocks noGrp="1"/>
          </p:cNvSpPr>
          <p:nvPr userDrawn="1">
            <p:ph type="body" sz="quarter" idx="12"/>
          </p:nvPr>
        </p:nvSpPr>
        <p:spPr>
          <a:xfrm>
            <a:off x="719113" y="3138499"/>
            <a:ext cx="2552724" cy="2998776"/>
          </a:xfrm>
          <a:solidFill>
            <a:schemeClr val="tx2"/>
          </a:solidFill>
        </p:spPr>
        <p:txBody>
          <a:bodyPr lIns="108000" tIns="72000" rIns="108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2">
            <a:extLst>
              <a:ext uri="{FF2B5EF4-FFF2-40B4-BE49-F238E27FC236}">
                <a16:creationId xmlns:a16="http://schemas.microsoft.com/office/drawing/2014/main" id="{6D941C59-34BD-41A3-AF7D-C23C0260892E}"/>
              </a:ext>
            </a:extLst>
          </p:cNvPr>
          <p:cNvSpPr>
            <a:spLocks noGrp="1"/>
          </p:cNvSpPr>
          <p:nvPr>
            <p:ph type="body" sz="quarter" idx="13"/>
          </p:nvPr>
        </p:nvSpPr>
        <p:spPr>
          <a:xfrm>
            <a:off x="3452813" y="3138499"/>
            <a:ext cx="4375150" cy="2998776"/>
          </a:xfrm>
          <a:solidFill>
            <a:schemeClr val="accent2"/>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Picture Placeholder 8">
            <a:extLst>
              <a:ext uri="{FF2B5EF4-FFF2-40B4-BE49-F238E27FC236}">
                <a16:creationId xmlns:a16="http://schemas.microsoft.com/office/drawing/2014/main" id="{55C70207-70D8-41B5-841A-D7F3BD5D4EDD}"/>
              </a:ext>
            </a:extLst>
          </p:cNvPr>
          <p:cNvSpPr>
            <a:spLocks noGrp="1"/>
          </p:cNvSpPr>
          <p:nvPr>
            <p:ph type="pic" sz="quarter" idx="16"/>
          </p:nvPr>
        </p:nvSpPr>
        <p:spPr>
          <a:xfrm>
            <a:off x="719138" y="1565275"/>
            <a:ext cx="1641475" cy="1393224"/>
          </a:xfrm>
        </p:spPr>
        <p:txBody>
          <a:bodyPr/>
          <a:lstStyle/>
          <a:p>
            <a:r>
              <a:rPr lang="en-US"/>
              <a:t>Click icon to add picture</a:t>
            </a:r>
            <a:endParaRPr lang="en-GB" dirty="0"/>
          </a:p>
        </p:txBody>
      </p:sp>
      <p:sp>
        <p:nvSpPr>
          <p:cNvPr id="33" name="Picture Placeholder 8">
            <a:extLst>
              <a:ext uri="{FF2B5EF4-FFF2-40B4-BE49-F238E27FC236}">
                <a16:creationId xmlns:a16="http://schemas.microsoft.com/office/drawing/2014/main" id="{52707F8D-3492-47D7-AF94-97ADA4F892BB}"/>
              </a:ext>
            </a:extLst>
          </p:cNvPr>
          <p:cNvSpPr>
            <a:spLocks noGrp="1"/>
          </p:cNvSpPr>
          <p:nvPr>
            <p:ph type="pic" sz="quarter" idx="17"/>
          </p:nvPr>
        </p:nvSpPr>
        <p:spPr>
          <a:xfrm>
            <a:off x="3452813" y="1565275"/>
            <a:ext cx="1641475" cy="1393224"/>
          </a:xfrm>
        </p:spPr>
        <p:txBody>
          <a:bodyPr/>
          <a:lstStyle/>
          <a:p>
            <a:r>
              <a:rPr lang="en-US"/>
              <a:t>Click icon to add picture</a:t>
            </a:r>
            <a:endParaRPr lang="en-GB" dirty="0"/>
          </a:p>
        </p:txBody>
      </p:sp>
      <p:sp>
        <p:nvSpPr>
          <p:cNvPr id="34" name="Picture Placeholder 8">
            <a:extLst>
              <a:ext uri="{FF2B5EF4-FFF2-40B4-BE49-F238E27FC236}">
                <a16:creationId xmlns:a16="http://schemas.microsoft.com/office/drawing/2014/main" id="{BD8F2EF5-333B-4333-A8B8-E1FC40862BB1}"/>
              </a:ext>
            </a:extLst>
          </p:cNvPr>
          <p:cNvSpPr>
            <a:spLocks noGrp="1"/>
          </p:cNvSpPr>
          <p:nvPr>
            <p:ph type="pic" sz="quarter" idx="18"/>
          </p:nvPr>
        </p:nvSpPr>
        <p:spPr>
          <a:xfrm>
            <a:off x="8008939" y="1565275"/>
            <a:ext cx="1641475" cy="1393224"/>
          </a:xfrm>
        </p:spPr>
        <p:txBody>
          <a:bodyPr/>
          <a:lstStyle/>
          <a:p>
            <a:r>
              <a:rPr lang="en-US"/>
              <a:t>Click icon to add picture</a:t>
            </a:r>
            <a:endParaRPr lang="en-GB" dirty="0"/>
          </a:p>
        </p:txBody>
      </p:sp>
      <p:sp>
        <p:nvSpPr>
          <p:cNvPr id="35" name="Text Placeholder 2">
            <a:extLst>
              <a:ext uri="{FF2B5EF4-FFF2-40B4-BE49-F238E27FC236}">
                <a16:creationId xmlns:a16="http://schemas.microsoft.com/office/drawing/2014/main" id="{4621DBA4-C41D-4040-B6F9-D89D8DCF338F}"/>
              </a:ext>
            </a:extLst>
          </p:cNvPr>
          <p:cNvSpPr>
            <a:spLocks noGrp="1"/>
          </p:cNvSpPr>
          <p:nvPr>
            <p:ph type="body" sz="quarter" idx="19"/>
          </p:nvPr>
        </p:nvSpPr>
        <p:spPr>
          <a:xfrm>
            <a:off x="8008939" y="4742495"/>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6961927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5"/>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5489D85-D0F9-4009-B631-1A6B5A0B087B}"/>
              </a:ext>
            </a:extLst>
          </p:cNvPr>
          <p:cNvGrpSpPr/>
          <p:nvPr userDrawn="1"/>
        </p:nvGrpSpPr>
        <p:grpSpPr>
          <a:xfrm>
            <a:off x="4244705" y="1244483"/>
            <a:ext cx="7948563" cy="5612872"/>
            <a:chOff x="4244705" y="1244483"/>
            <a:chExt cx="7948563" cy="5612872"/>
          </a:xfrm>
        </p:grpSpPr>
        <p:sp>
          <p:nvSpPr>
            <p:cNvPr id="10" name="Freeform: Shape 9">
              <a:extLst>
                <a:ext uri="{FF2B5EF4-FFF2-40B4-BE49-F238E27FC236}">
                  <a16:creationId xmlns:a16="http://schemas.microsoft.com/office/drawing/2014/main" id="{62BD671C-1B9C-4960-A042-4A14DEB69BFA}"/>
                </a:ext>
              </a:extLst>
            </p:cNvPr>
            <p:cNvSpPr/>
            <p:nvPr/>
          </p:nvSpPr>
          <p:spPr>
            <a:xfrm>
              <a:off x="10117025" y="1244483"/>
              <a:ext cx="2076243" cy="1114055"/>
            </a:xfrm>
            <a:custGeom>
              <a:avLst/>
              <a:gdLst>
                <a:gd name="connsiteX0" fmla="*/ 51038 w 2076243"/>
                <a:gd name="connsiteY0" fmla="*/ 875456 h 1114055"/>
                <a:gd name="connsiteX1" fmla="*/ 28561 w 2076243"/>
                <a:gd name="connsiteY1" fmla="*/ 1063017 h 1114055"/>
                <a:gd name="connsiteX2" fmla="*/ 216123 w 2076243"/>
                <a:gd name="connsiteY2" fmla="*/ 1085494 h 1114055"/>
                <a:gd name="connsiteX3" fmla="*/ 1916366 w 2076243"/>
                <a:gd name="connsiteY3" fmla="*/ 302359 h 1114055"/>
                <a:gd name="connsiteX4" fmla="*/ 2076244 w 2076243"/>
                <a:gd name="connsiteY4" fmla="*/ 270993 h 1114055"/>
                <a:gd name="connsiteX5" fmla="*/ 2076244 w 2076243"/>
                <a:gd name="connsiteY5" fmla="*/ 0 h 1114055"/>
                <a:gd name="connsiteX6" fmla="*/ 1860364 w 2076243"/>
                <a:gd name="connsiteY6" fmla="*/ 41525 h 1114055"/>
                <a:gd name="connsiteX7" fmla="*/ 51038 w 2076243"/>
                <a:gd name="connsiteY7" fmla="*/ 875456 h 111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243" h="1114055">
                  <a:moveTo>
                    <a:pt x="51038" y="875456"/>
                  </a:moveTo>
                  <a:cubicBezTo>
                    <a:pt x="-6962" y="921043"/>
                    <a:pt x="-17026" y="1005017"/>
                    <a:pt x="28561" y="1063017"/>
                  </a:cubicBezTo>
                  <a:cubicBezTo>
                    <a:pt x="74148" y="1121018"/>
                    <a:pt x="158122" y="1131081"/>
                    <a:pt x="216123" y="1085494"/>
                  </a:cubicBezTo>
                  <a:cubicBezTo>
                    <a:pt x="705789" y="701990"/>
                    <a:pt x="1277870" y="438490"/>
                    <a:pt x="1916366" y="302359"/>
                  </a:cubicBezTo>
                  <a:cubicBezTo>
                    <a:pt x="1969828" y="290930"/>
                    <a:pt x="2023036" y="280644"/>
                    <a:pt x="2076244" y="270993"/>
                  </a:cubicBezTo>
                  <a:lnTo>
                    <a:pt x="2076244" y="0"/>
                  </a:lnTo>
                  <a:cubicBezTo>
                    <a:pt x="2004538" y="12445"/>
                    <a:pt x="1932579" y="26287"/>
                    <a:pt x="1860364" y="41525"/>
                  </a:cubicBezTo>
                  <a:cubicBezTo>
                    <a:pt x="1181614" y="186291"/>
                    <a:pt x="572959" y="466935"/>
                    <a:pt x="51038" y="875456"/>
                  </a:cubicBezTo>
                  <a:close/>
                </a:path>
              </a:pathLst>
            </a:custGeom>
            <a:solidFill>
              <a:srgbClr val="FFFFFF"/>
            </a:solidFill>
            <a:ln w="1269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71775B54-885A-4778-A047-973BA88B55AB}"/>
                </a:ext>
              </a:extLst>
            </p:cNvPr>
            <p:cNvSpPr/>
            <p:nvPr/>
          </p:nvSpPr>
          <p:spPr>
            <a:xfrm>
              <a:off x="4244705" y="2099323"/>
              <a:ext cx="6124043" cy="4758032"/>
            </a:xfrm>
            <a:custGeom>
              <a:avLst/>
              <a:gdLst>
                <a:gd name="connsiteX0" fmla="*/ 1597891 w 6124043"/>
                <a:gd name="connsiteY0" fmla="*/ 3022105 h 4758032"/>
                <a:gd name="connsiteX1" fmla="*/ 3999490 w 6124043"/>
                <a:gd name="connsiteY1" fmla="*/ 3712667 h 4758032"/>
                <a:gd name="connsiteX2" fmla="*/ 4187860 w 6124043"/>
                <a:gd name="connsiteY2" fmla="*/ 3721286 h 4758032"/>
                <a:gd name="connsiteX3" fmla="*/ 4230481 w 6124043"/>
                <a:gd name="connsiteY3" fmla="*/ 3637744 h 4758032"/>
                <a:gd name="connsiteX4" fmla="*/ 4554301 w 6124043"/>
                <a:gd name="connsiteY4" fmla="*/ 2404308 h 4758032"/>
                <a:gd name="connsiteX5" fmla="*/ 6073205 w 6124043"/>
                <a:gd name="connsiteY5" fmla="*/ 238146 h 4758032"/>
                <a:gd name="connsiteX6" fmla="*/ 6095428 w 6124043"/>
                <a:gd name="connsiteY6" fmla="*/ 50839 h 4758032"/>
                <a:gd name="connsiteX7" fmla="*/ 5908120 w 6124043"/>
                <a:gd name="connsiteY7" fmla="*/ 28616 h 4758032"/>
                <a:gd name="connsiteX8" fmla="*/ 4301975 w 6124043"/>
                <a:gd name="connsiteY8" fmla="*/ 2317449 h 4758032"/>
                <a:gd name="connsiteX9" fmla="*/ 4008633 w 6124043"/>
                <a:gd name="connsiteY9" fmla="*/ 3342624 h 4758032"/>
                <a:gd name="connsiteX10" fmla="*/ 2847708 w 6124043"/>
                <a:gd name="connsiteY10" fmla="*/ 2691174 h 4758032"/>
                <a:gd name="connsiteX11" fmla="*/ 1503412 w 6124043"/>
                <a:gd name="connsiteY11" fmla="*/ 2772574 h 4758032"/>
                <a:gd name="connsiteX12" fmla="*/ 436712 w 6124043"/>
                <a:gd name="connsiteY12" fmla="*/ 3580726 h 4758032"/>
                <a:gd name="connsiteX13" fmla="*/ 0 w 6124043"/>
                <a:gd name="connsiteY13" fmla="*/ 4758033 h 4758032"/>
                <a:gd name="connsiteX14" fmla="*/ 267437 w 6124043"/>
                <a:gd name="connsiteY14" fmla="*/ 4758033 h 4758032"/>
                <a:gd name="connsiteX15" fmla="*/ 1597891 w 6124043"/>
                <a:gd name="connsiteY15" fmla="*/ 3022105 h 475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24043" h="4758032">
                  <a:moveTo>
                    <a:pt x="1597891" y="3022105"/>
                  </a:moveTo>
                  <a:cubicBezTo>
                    <a:pt x="2434489" y="2705905"/>
                    <a:pt x="3309945" y="2957596"/>
                    <a:pt x="3999490" y="3712667"/>
                  </a:cubicBezTo>
                  <a:cubicBezTo>
                    <a:pt x="4049127" y="3767064"/>
                    <a:pt x="4133463" y="3770923"/>
                    <a:pt x="4187860" y="3721286"/>
                  </a:cubicBezTo>
                  <a:cubicBezTo>
                    <a:pt x="4211716" y="3699519"/>
                    <a:pt x="4226860" y="3669833"/>
                    <a:pt x="4230481" y="3637744"/>
                  </a:cubicBezTo>
                  <a:cubicBezTo>
                    <a:pt x="4231116" y="3632410"/>
                    <a:pt x="4293975" y="3091695"/>
                    <a:pt x="4554301" y="2404308"/>
                  </a:cubicBezTo>
                  <a:cubicBezTo>
                    <a:pt x="4792276" y="1774447"/>
                    <a:pt x="5249053" y="887309"/>
                    <a:pt x="6073205" y="238146"/>
                  </a:cubicBezTo>
                  <a:cubicBezTo>
                    <a:pt x="6131065" y="192559"/>
                    <a:pt x="6141014" y="108699"/>
                    <a:pt x="6095428" y="50839"/>
                  </a:cubicBezTo>
                  <a:cubicBezTo>
                    <a:pt x="6049841" y="-7022"/>
                    <a:pt x="5965980" y="-16971"/>
                    <a:pt x="5908120" y="28616"/>
                  </a:cubicBezTo>
                  <a:cubicBezTo>
                    <a:pt x="5033300" y="717653"/>
                    <a:pt x="4551888" y="1654063"/>
                    <a:pt x="4301975" y="2317449"/>
                  </a:cubicBezTo>
                  <a:cubicBezTo>
                    <a:pt x="4176116" y="2650508"/>
                    <a:pt x="4078001" y="2993400"/>
                    <a:pt x="4008633" y="3342624"/>
                  </a:cubicBezTo>
                  <a:cubicBezTo>
                    <a:pt x="3657638" y="3013725"/>
                    <a:pt x="3268039" y="2794924"/>
                    <a:pt x="2847708" y="2691174"/>
                  </a:cubicBezTo>
                  <a:cubicBezTo>
                    <a:pt x="2401767" y="2580866"/>
                    <a:pt x="1932784" y="2609264"/>
                    <a:pt x="1503412" y="2772574"/>
                  </a:cubicBezTo>
                  <a:cubicBezTo>
                    <a:pt x="1077314" y="2933386"/>
                    <a:pt x="706849" y="3214057"/>
                    <a:pt x="436712" y="3580726"/>
                  </a:cubicBezTo>
                  <a:cubicBezTo>
                    <a:pt x="181480" y="3923286"/>
                    <a:pt x="29911" y="4331892"/>
                    <a:pt x="0" y="4758033"/>
                  </a:cubicBezTo>
                  <a:lnTo>
                    <a:pt x="267437" y="4758033"/>
                  </a:lnTo>
                  <a:cubicBezTo>
                    <a:pt x="328010" y="3992421"/>
                    <a:pt x="850821" y="3304400"/>
                    <a:pt x="1597891" y="3022105"/>
                  </a:cubicBezTo>
                  <a:close/>
                </a:path>
              </a:pathLst>
            </a:custGeom>
            <a:solidFill>
              <a:srgbClr val="005C82"/>
            </a:solidFill>
            <a:ln w="12690" cap="flat">
              <a:noFill/>
              <a:prstDash val="solid"/>
              <a:miter/>
            </a:ln>
          </p:spPr>
          <p:txBody>
            <a:bodyPr rtlCol="0" anchor="ctr"/>
            <a:lstStyle/>
            <a:p>
              <a:endParaRPr lang="en-GB"/>
            </a:p>
          </p:txBody>
        </p:sp>
      </p:gr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7096125" y="719138"/>
            <a:ext cx="4376737" cy="5418137"/>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9603413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grpSp>
        <p:nvGrpSpPr>
          <p:cNvPr id="40" name="Group 39">
            <a:extLst>
              <a:ext uri="{FF2B5EF4-FFF2-40B4-BE49-F238E27FC236}">
                <a16:creationId xmlns:a16="http://schemas.microsoft.com/office/drawing/2014/main" id="{EDF663FA-9A4B-4327-BA90-F0E24E7DEF24}"/>
              </a:ext>
            </a:extLst>
          </p:cNvPr>
          <p:cNvGrpSpPr/>
          <p:nvPr userDrawn="1"/>
        </p:nvGrpSpPr>
        <p:grpSpPr>
          <a:xfrm>
            <a:off x="454409" y="2997467"/>
            <a:ext cx="11748559" cy="3159175"/>
            <a:chOff x="454409" y="2997467"/>
            <a:chExt cx="11748559" cy="3159175"/>
          </a:xfrm>
        </p:grpSpPr>
        <p:sp>
          <p:nvSpPr>
            <p:cNvPr id="41" name="Freeform: Shape 40">
              <a:extLst>
                <a:ext uri="{FF2B5EF4-FFF2-40B4-BE49-F238E27FC236}">
                  <a16:creationId xmlns:a16="http://schemas.microsoft.com/office/drawing/2014/main" id="{CFBF558B-3C16-43E7-870C-049168C25D2B}"/>
                </a:ext>
              </a:extLst>
            </p:cNvPr>
            <p:cNvSpPr/>
            <p:nvPr userDrawn="1"/>
          </p:nvSpPr>
          <p:spPr>
            <a:xfrm>
              <a:off x="2917671" y="3567419"/>
              <a:ext cx="9285297" cy="1230491"/>
            </a:xfrm>
            <a:custGeom>
              <a:avLst/>
              <a:gdLst>
                <a:gd name="connsiteX0" fmla="*/ 9285297 w 9285297"/>
                <a:gd name="connsiteY0" fmla="*/ 0 h 1230491"/>
                <a:gd name="connsiteX1" fmla="*/ 9285297 w 9285297"/>
                <a:gd name="connsiteY1" fmla="*/ 248666 h 1230491"/>
                <a:gd name="connsiteX2" fmla="*/ 9179918 w 9285297"/>
                <a:gd name="connsiteY2" fmla="*/ 272756 h 1230491"/>
                <a:gd name="connsiteX3" fmla="*/ 3039595 w 9285297"/>
                <a:gd name="connsiteY3" fmla="*/ 1146580 h 1230491"/>
                <a:gd name="connsiteX4" fmla="*/ 662859 w 9285297"/>
                <a:gd name="connsiteY4" fmla="*/ 1230491 h 1230491"/>
                <a:gd name="connsiteX5" fmla="*/ 0 w 9285297"/>
                <a:gd name="connsiteY5" fmla="*/ 1220449 h 1230491"/>
                <a:gd name="connsiteX6" fmla="*/ 10388 w 9285297"/>
                <a:gd name="connsiteY6" fmla="*/ 978067 h 1230491"/>
                <a:gd name="connsiteX7" fmla="*/ 3029669 w 9285297"/>
                <a:gd name="connsiteY7" fmla="*/ 904082 h 1230491"/>
                <a:gd name="connsiteX8" fmla="*/ 9133527 w 9285297"/>
                <a:gd name="connsiteY8" fmla="*/ 34712 h 1230491"/>
                <a:gd name="connsiteX9" fmla="*/ 9285297 w 9285297"/>
                <a:gd name="connsiteY9" fmla="*/ 0 h 12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5297" h="1230491">
                  <a:moveTo>
                    <a:pt x="9285297" y="0"/>
                  </a:moveTo>
                  <a:lnTo>
                    <a:pt x="9285297" y="248666"/>
                  </a:lnTo>
                  <a:lnTo>
                    <a:pt x="9179918" y="272756"/>
                  </a:lnTo>
                  <a:cubicBezTo>
                    <a:pt x="6729077" y="814541"/>
                    <a:pt x="4528431" y="1047102"/>
                    <a:pt x="3039595" y="1146580"/>
                  </a:cubicBezTo>
                  <a:cubicBezTo>
                    <a:pt x="2013277" y="1215140"/>
                    <a:pt x="1191831" y="1230491"/>
                    <a:pt x="662859" y="1230491"/>
                  </a:cubicBezTo>
                  <a:cubicBezTo>
                    <a:pt x="240882" y="1230491"/>
                    <a:pt x="4963" y="1220680"/>
                    <a:pt x="0" y="1220449"/>
                  </a:cubicBezTo>
                  <a:lnTo>
                    <a:pt x="10388" y="978067"/>
                  </a:lnTo>
                  <a:cubicBezTo>
                    <a:pt x="21930" y="978644"/>
                    <a:pt x="1195755" y="1026889"/>
                    <a:pt x="3029669" y="904082"/>
                  </a:cubicBezTo>
                  <a:cubicBezTo>
                    <a:pt x="4510022" y="804907"/>
                    <a:pt x="6697766" y="573444"/>
                    <a:pt x="9133527" y="34712"/>
                  </a:cubicBezTo>
                  <a:lnTo>
                    <a:pt x="928529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sp>
          <p:nvSpPr>
            <p:cNvPr id="42" name="Freeform: Shape 41">
              <a:extLst>
                <a:ext uri="{FF2B5EF4-FFF2-40B4-BE49-F238E27FC236}">
                  <a16:creationId xmlns:a16="http://schemas.microsoft.com/office/drawing/2014/main" id="{CB6E0637-89BF-4A6E-AA34-59E5F0C809D4}"/>
                </a:ext>
              </a:extLst>
            </p:cNvPr>
            <p:cNvSpPr/>
            <p:nvPr/>
          </p:nvSpPr>
          <p:spPr>
            <a:xfrm>
              <a:off x="2801559" y="4334337"/>
              <a:ext cx="4861221" cy="463340"/>
            </a:xfrm>
            <a:custGeom>
              <a:avLst/>
              <a:gdLst>
                <a:gd name="connsiteX0" fmla="*/ 848866 w 5348927"/>
                <a:gd name="connsiteY0" fmla="*/ 509825 h 509825"/>
                <a:gd name="connsiteX1" fmla="*/ 127760 w 5348927"/>
                <a:gd name="connsiteY1" fmla="*/ 499030 h 509825"/>
                <a:gd name="connsiteX2" fmla="*/ 125 w 5348927"/>
                <a:gd name="connsiteY2" fmla="*/ 359965 h 509825"/>
                <a:gd name="connsiteX3" fmla="*/ 139190 w 5348927"/>
                <a:gd name="connsiteY3" fmla="*/ 232330 h 509825"/>
                <a:gd name="connsiteX4" fmla="*/ 5198870 w 5348927"/>
                <a:gd name="connsiteY4" fmla="*/ 1063 h 509825"/>
                <a:gd name="connsiteX5" fmla="*/ 5347866 w 5348927"/>
                <a:gd name="connsiteY5" fmla="*/ 116671 h 509825"/>
                <a:gd name="connsiteX6" fmla="*/ 5232246 w 5348927"/>
                <a:gd name="connsiteY6" fmla="*/ 265668 h 509825"/>
                <a:gd name="connsiteX7" fmla="*/ 5226810 w 5348927"/>
                <a:gd name="connsiteY7" fmla="*/ 266239 h 509825"/>
                <a:gd name="connsiteX8" fmla="*/ 848866 w 5348927"/>
                <a:gd name="connsiteY8" fmla="*/ 509825 h 5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8927" h="509825">
                  <a:moveTo>
                    <a:pt x="848866" y="509825"/>
                  </a:moveTo>
                  <a:cubicBezTo>
                    <a:pt x="390650" y="509825"/>
                    <a:pt x="134872" y="499411"/>
                    <a:pt x="127760" y="499030"/>
                  </a:cubicBezTo>
                  <a:cubicBezTo>
                    <a:pt x="54113" y="495868"/>
                    <a:pt x="-3037" y="433613"/>
                    <a:pt x="125" y="359965"/>
                  </a:cubicBezTo>
                  <a:cubicBezTo>
                    <a:pt x="3287" y="286318"/>
                    <a:pt x="65543" y="229168"/>
                    <a:pt x="139190" y="232330"/>
                  </a:cubicBezTo>
                  <a:cubicBezTo>
                    <a:pt x="159510" y="233219"/>
                    <a:pt x="2207512" y="316404"/>
                    <a:pt x="5198870" y="1063"/>
                  </a:cubicBezTo>
                  <a:cubicBezTo>
                    <a:pt x="5271934" y="-8157"/>
                    <a:pt x="5338647" y="43608"/>
                    <a:pt x="5347866" y="116671"/>
                  </a:cubicBezTo>
                  <a:cubicBezTo>
                    <a:pt x="5357074" y="189747"/>
                    <a:pt x="5305322" y="256448"/>
                    <a:pt x="5232246" y="265668"/>
                  </a:cubicBezTo>
                  <a:cubicBezTo>
                    <a:pt x="5230443" y="265896"/>
                    <a:pt x="5228626" y="266087"/>
                    <a:pt x="5226810" y="266239"/>
                  </a:cubicBezTo>
                  <a:cubicBezTo>
                    <a:pt x="3264914" y="473376"/>
                    <a:pt x="1704338" y="509825"/>
                    <a:pt x="848866" y="509825"/>
                  </a:cubicBezTo>
                  <a:close/>
                </a:path>
              </a:pathLst>
            </a:custGeom>
            <a:solidFill>
              <a:schemeClr val="tx1"/>
            </a:solidFill>
            <a:ln w="1270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40811AF-25EF-4CC1-9D75-C9F00AA24E84}"/>
                </a:ext>
              </a:extLst>
            </p:cNvPr>
            <p:cNvSpPr/>
            <p:nvPr/>
          </p:nvSpPr>
          <p:spPr>
            <a:xfrm>
              <a:off x="454409" y="2997467"/>
              <a:ext cx="2589647" cy="3159175"/>
            </a:xfrm>
            <a:custGeom>
              <a:avLst/>
              <a:gdLst>
                <a:gd name="connsiteX0" fmla="*/ 1040975 w 2849455"/>
                <a:gd name="connsiteY0" fmla="*/ 3476117 h 3476122"/>
                <a:gd name="connsiteX1" fmla="*/ 992588 w 2849455"/>
                <a:gd name="connsiteY1" fmla="*/ 3475228 h 3476122"/>
                <a:gd name="connsiteX2" fmla="*/ 264370 w 2849455"/>
                <a:gd name="connsiteY2" fmla="*/ 3111754 h 3476122"/>
                <a:gd name="connsiteX3" fmla="*/ 3766 w 2849455"/>
                <a:gd name="connsiteY3" fmla="*/ 2333625 h 3476122"/>
                <a:gd name="connsiteX4" fmla="*/ 324568 w 2849455"/>
                <a:gd name="connsiteY4" fmla="*/ 1650238 h 3476122"/>
                <a:gd name="connsiteX5" fmla="*/ 830282 w 2849455"/>
                <a:gd name="connsiteY5" fmla="*/ 1345438 h 3476122"/>
                <a:gd name="connsiteX6" fmla="*/ 806406 w 2849455"/>
                <a:gd name="connsiteY6" fmla="*/ 1315212 h 3476122"/>
                <a:gd name="connsiteX7" fmla="*/ 804882 w 2849455"/>
                <a:gd name="connsiteY7" fmla="*/ 1313307 h 3476122"/>
                <a:gd name="connsiteX8" fmla="*/ 529927 w 2849455"/>
                <a:gd name="connsiteY8" fmla="*/ 772033 h 3476122"/>
                <a:gd name="connsiteX9" fmla="*/ 738842 w 2849455"/>
                <a:gd name="connsiteY9" fmla="*/ 211201 h 3476122"/>
                <a:gd name="connsiteX10" fmla="*/ 1265257 w 2849455"/>
                <a:gd name="connsiteY10" fmla="*/ 0 h 3476122"/>
                <a:gd name="connsiteX11" fmla="*/ 1332440 w 2849455"/>
                <a:gd name="connsiteY11" fmla="*/ 2667 h 3476122"/>
                <a:gd name="connsiteX12" fmla="*/ 1956899 w 2849455"/>
                <a:gd name="connsiteY12" fmla="*/ 646557 h 3476122"/>
                <a:gd name="connsiteX13" fmla="*/ 1664799 w 2849455"/>
                <a:gd name="connsiteY13" fmla="*/ 1206246 h 3476122"/>
                <a:gd name="connsiteX14" fmla="*/ 1254843 w 2849455"/>
                <a:gd name="connsiteY14" fmla="*/ 1460246 h 3476122"/>
                <a:gd name="connsiteX15" fmla="*/ 2175466 w 2849455"/>
                <a:gd name="connsiteY15" fmla="*/ 2641981 h 3476122"/>
                <a:gd name="connsiteX16" fmla="*/ 2295608 w 2849455"/>
                <a:gd name="connsiteY16" fmla="*/ 2789555 h 3476122"/>
                <a:gd name="connsiteX17" fmla="*/ 2594058 w 2849455"/>
                <a:gd name="connsiteY17" fmla="*/ 3109214 h 3476122"/>
                <a:gd name="connsiteX18" fmla="*/ 2621998 w 2849455"/>
                <a:gd name="connsiteY18" fmla="*/ 3131947 h 3476122"/>
                <a:gd name="connsiteX19" fmla="*/ 2627840 w 2849455"/>
                <a:gd name="connsiteY19" fmla="*/ 3136900 h 3476122"/>
                <a:gd name="connsiteX20" fmla="*/ 2715343 w 2849455"/>
                <a:gd name="connsiteY20" fmla="*/ 3142361 h 3476122"/>
                <a:gd name="connsiteX21" fmla="*/ 2848693 w 2849455"/>
                <a:gd name="connsiteY21" fmla="*/ 3142361 h 3476122"/>
                <a:gd name="connsiteX22" fmla="*/ 2849455 w 2849455"/>
                <a:gd name="connsiteY22" fmla="*/ 3409061 h 3476122"/>
                <a:gd name="connsiteX23" fmla="*/ 2716105 w 2849455"/>
                <a:gd name="connsiteY23" fmla="*/ 3409061 h 3476122"/>
                <a:gd name="connsiteX24" fmla="*/ 2448008 w 2849455"/>
                <a:gd name="connsiteY24" fmla="*/ 3334131 h 3476122"/>
                <a:gd name="connsiteX25" fmla="*/ 2435308 w 2849455"/>
                <a:gd name="connsiteY25" fmla="*/ 3323336 h 3476122"/>
                <a:gd name="connsiteX26" fmla="*/ 2103203 w 2849455"/>
                <a:gd name="connsiteY26" fmla="*/ 2974340 h 3476122"/>
                <a:gd name="connsiteX27" fmla="*/ 1642066 w 2849455"/>
                <a:gd name="connsiteY27" fmla="*/ 3332734 h 3476122"/>
                <a:gd name="connsiteX28" fmla="*/ 1040975 w 2849455"/>
                <a:gd name="connsiteY28" fmla="*/ 3476117 h 3476122"/>
                <a:gd name="connsiteX29" fmla="*/ 931755 w 2849455"/>
                <a:gd name="connsiteY29" fmla="*/ 1591945 h 3476122"/>
                <a:gd name="connsiteX30" fmla="*/ 506686 w 2849455"/>
                <a:gd name="connsiteY30" fmla="*/ 1844929 h 3476122"/>
                <a:gd name="connsiteX31" fmla="*/ 269704 w 2849455"/>
                <a:gd name="connsiteY31" fmla="*/ 2354326 h 3476122"/>
                <a:gd name="connsiteX32" fmla="*/ 463506 w 2849455"/>
                <a:gd name="connsiteY32" fmla="*/ 2934335 h 3476122"/>
                <a:gd name="connsiteX33" fmla="*/ 1001478 w 2849455"/>
                <a:gd name="connsiteY33" fmla="*/ 3208655 h 3476122"/>
                <a:gd name="connsiteX34" fmla="*/ 1521543 w 2849455"/>
                <a:gd name="connsiteY34" fmla="*/ 3094990 h 3476122"/>
                <a:gd name="connsiteX35" fmla="*/ 1932515 w 2849455"/>
                <a:gd name="connsiteY35" fmla="*/ 2765552 h 3476122"/>
                <a:gd name="connsiteX36" fmla="*/ 1884382 w 2849455"/>
                <a:gd name="connsiteY36" fmla="*/ 2706370 h 3476122"/>
                <a:gd name="connsiteX37" fmla="*/ 1886541 w 2849455"/>
                <a:gd name="connsiteY37" fmla="*/ 2704592 h 3476122"/>
                <a:gd name="connsiteX38" fmla="*/ 1000462 w 2849455"/>
                <a:gd name="connsiteY38" fmla="*/ 1567307 h 3476122"/>
                <a:gd name="connsiteX39" fmla="*/ 2593042 w 2849455"/>
                <a:gd name="connsiteY39" fmla="*/ 3108198 h 3476122"/>
                <a:gd name="connsiteX40" fmla="*/ 2593677 w 2849455"/>
                <a:gd name="connsiteY40" fmla="*/ 3108198 h 3476122"/>
                <a:gd name="connsiteX41" fmla="*/ 1265892 w 2849455"/>
                <a:gd name="connsiteY41" fmla="*/ 266700 h 3476122"/>
                <a:gd name="connsiteX42" fmla="*/ 929088 w 2849455"/>
                <a:gd name="connsiteY42" fmla="*/ 398780 h 3476122"/>
                <a:gd name="connsiteX43" fmla="*/ 796246 w 2849455"/>
                <a:gd name="connsiteY43" fmla="*/ 748284 h 3476122"/>
                <a:gd name="connsiteX44" fmla="*/ 1013543 w 2849455"/>
                <a:gd name="connsiteY44" fmla="*/ 1146429 h 3476122"/>
                <a:gd name="connsiteX45" fmla="*/ 1014813 w 2849455"/>
                <a:gd name="connsiteY45" fmla="*/ 1147953 h 3476122"/>
                <a:gd name="connsiteX46" fmla="*/ 1015575 w 2849455"/>
                <a:gd name="connsiteY46" fmla="*/ 1148969 h 3476122"/>
                <a:gd name="connsiteX47" fmla="*/ 1088981 w 2849455"/>
                <a:gd name="connsiteY47" fmla="*/ 1243076 h 3476122"/>
                <a:gd name="connsiteX48" fmla="*/ 1088981 w 2849455"/>
                <a:gd name="connsiteY48" fmla="*/ 1243076 h 3476122"/>
                <a:gd name="connsiteX49" fmla="*/ 1088981 w 2849455"/>
                <a:gd name="connsiteY49" fmla="*/ 1243076 h 3476122"/>
                <a:gd name="connsiteX50" fmla="*/ 1088981 w 2849455"/>
                <a:gd name="connsiteY50" fmla="*/ 1243076 h 3476122"/>
                <a:gd name="connsiteX51" fmla="*/ 1492333 w 2849455"/>
                <a:gd name="connsiteY51" fmla="*/ 1002665 h 3476122"/>
                <a:gd name="connsiteX52" fmla="*/ 1689945 w 2849455"/>
                <a:gd name="connsiteY52" fmla="*/ 647065 h 3476122"/>
                <a:gd name="connsiteX53" fmla="*/ 1311612 w 2849455"/>
                <a:gd name="connsiteY53" fmla="*/ 267589 h 3476122"/>
                <a:gd name="connsiteX54" fmla="*/ 1265892 w 2849455"/>
                <a:gd name="connsiteY54" fmla="*/ 266700 h 34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49455" h="3476122">
                  <a:moveTo>
                    <a:pt x="1040975" y="3476117"/>
                  </a:moveTo>
                  <a:cubicBezTo>
                    <a:pt x="1024973" y="3476117"/>
                    <a:pt x="1008717" y="3476117"/>
                    <a:pt x="992588" y="3475228"/>
                  </a:cubicBezTo>
                  <a:cubicBezTo>
                    <a:pt x="727666" y="3466465"/>
                    <a:pt x="462236" y="3333877"/>
                    <a:pt x="264370" y="3111754"/>
                  </a:cubicBezTo>
                  <a:cubicBezTo>
                    <a:pt x="73761" y="2899499"/>
                    <a:pt x="-20564" y="2617864"/>
                    <a:pt x="3766" y="2333625"/>
                  </a:cubicBezTo>
                  <a:cubicBezTo>
                    <a:pt x="24594" y="2056511"/>
                    <a:pt x="129496" y="1832610"/>
                    <a:pt x="324568" y="1650238"/>
                  </a:cubicBezTo>
                  <a:cubicBezTo>
                    <a:pt x="493986" y="1491615"/>
                    <a:pt x="692868" y="1400429"/>
                    <a:pt x="830282" y="1345438"/>
                  </a:cubicBezTo>
                  <a:lnTo>
                    <a:pt x="806406" y="1315212"/>
                  </a:lnTo>
                  <a:lnTo>
                    <a:pt x="804882" y="1313307"/>
                  </a:lnTo>
                  <a:cubicBezTo>
                    <a:pt x="678898" y="1154938"/>
                    <a:pt x="549485" y="991997"/>
                    <a:pt x="529927" y="772033"/>
                  </a:cubicBezTo>
                  <a:cubicBezTo>
                    <a:pt x="512401" y="574548"/>
                    <a:pt x="592792" y="359664"/>
                    <a:pt x="738842" y="211201"/>
                  </a:cubicBezTo>
                  <a:cubicBezTo>
                    <a:pt x="876002" y="72898"/>
                    <a:pt x="1057993" y="0"/>
                    <a:pt x="1265257" y="0"/>
                  </a:cubicBezTo>
                  <a:cubicBezTo>
                    <a:pt x="1288879" y="0"/>
                    <a:pt x="1310850" y="889"/>
                    <a:pt x="1332440" y="2667"/>
                  </a:cubicBezTo>
                  <a:cubicBezTo>
                    <a:pt x="1697565" y="29337"/>
                    <a:pt x="1954740" y="294132"/>
                    <a:pt x="1956899" y="646557"/>
                  </a:cubicBezTo>
                  <a:cubicBezTo>
                    <a:pt x="1957915" y="852678"/>
                    <a:pt x="1859871" y="1040257"/>
                    <a:pt x="1664799" y="1206246"/>
                  </a:cubicBezTo>
                  <a:cubicBezTo>
                    <a:pt x="1559262" y="1295781"/>
                    <a:pt x="1424642" y="1379220"/>
                    <a:pt x="1254843" y="1460246"/>
                  </a:cubicBezTo>
                  <a:lnTo>
                    <a:pt x="2175466" y="2641981"/>
                  </a:lnTo>
                  <a:lnTo>
                    <a:pt x="2295608" y="2789555"/>
                  </a:lnTo>
                  <a:cubicBezTo>
                    <a:pt x="2437594" y="2952369"/>
                    <a:pt x="2568404" y="3088005"/>
                    <a:pt x="2594058" y="3109214"/>
                  </a:cubicBezTo>
                  <a:cubicBezTo>
                    <a:pt x="2605869" y="3117977"/>
                    <a:pt x="2615140" y="3125978"/>
                    <a:pt x="2621998" y="3131947"/>
                  </a:cubicBezTo>
                  <a:lnTo>
                    <a:pt x="2627840" y="3136900"/>
                  </a:lnTo>
                  <a:cubicBezTo>
                    <a:pt x="2656733" y="3141764"/>
                    <a:pt x="2686070" y="3143593"/>
                    <a:pt x="2715343" y="3142361"/>
                  </a:cubicBezTo>
                  <a:lnTo>
                    <a:pt x="2848693" y="3142361"/>
                  </a:lnTo>
                  <a:lnTo>
                    <a:pt x="2849455" y="3409061"/>
                  </a:lnTo>
                  <a:lnTo>
                    <a:pt x="2716105" y="3409061"/>
                  </a:lnTo>
                  <a:cubicBezTo>
                    <a:pt x="2561419" y="3409061"/>
                    <a:pt x="2508714" y="3386201"/>
                    <a:pt x="2448008" y="3334131"/>
                  </a:cubicBezTo>
                  <a:cubicBezTo>
                    <a:pt x="2443055" y="3329813"/>
                    <a:pt x="2438991" y="3326384"/>
                    <a:pt x="2435308" y="3323336"/>
                  </a:cubicBezTo>
                  <a:cubicBezTo>
                    <a:pt x="2384508" y="3286252"/>
                    <a:pt x="2211153" y="3097657"/>
                    <a:pt x="2103203" y="2974340"/>
                  </a:cubicBezTo>
                  <a:cubicBezTo>
                    <a:pt x="1960455" y="3129534"/>
                    <a:pt x="1805515" y="3249930"/>
                    <a:pt x="1642066" y="3332734"/>
                  </a:cubicBezTo>
                  <a:cubicBezTo>
                    <a:pt x="1455935" y="3427603"/>
                    <a:pt x="1249890" y="3476752"/>
                    <a:pt x="1040975" y="3476117"/>
                  </a:cubicBezTo>
                  <a:close/>
                  <a:moveTo>
                    <a:pt x="931755" y="1591945"/>
                  </a:moveTo>
                  <a:cubicBezTo>
                    <a:pt x="814788" y="1638935"/>
                    <a:pt x="644481" y="1716151"/>
                    <a:pt x="506686" y="1844929"/>
                  </a:cubicBezTo>
                  <a:cubicBezTo>
                    <a:pt x="360763" y="1981454"/>
                    <a:pt x="285452" y="2143379"/>
                    <a:pt x="269704" y="2354326"/>
                  </a:cubicBezTo>
                  <a:cubicBezTo>
                    <a:pt x="251301" y="2566149"/>
                    <a:pt x="321463" y="2776131"/>
                    <a:pt x="463506" y="2934335"/>
                  </a:cubicBezTo>
                  <a:cubicBezTo>
                    <a:pt x="613112" y="3102356"/>
                    <a:pt x="809200" y="3202305"/>
                    <a:pt x="1001478" y="3208655"/>
                  </a:cubicBezTo>
                  <a:cubicBezTo>
                    <a:pt x="1181691" y="3215780"/>
                    <a:pt x="1360736" y="3176651"/>
                    <a:pt x="1521543" y="3094990"/>
                  </a:cubicBezTo>
                  <a:cubicBezTo>
                    <a:pt x="1666069" y="3021711"/>
                    <a:pt x="1804245" y="2910967"/>
                    <a:pt x="1932515" y="2765552"/>
                  </a:cubicBezTo>
                  <a:lnTo>
                    <a:pt x="1884382" y="2706370"/>
                  </a:lnTo>
                  <a:lnTo>
                    <a:pt x="1886541" y="2704592"/>
                  </a:lnTo>
                  <a:lnTo>
                    <a:pt x="1000462" y="1567307"/>
                  </a:lnTo>
                  <a:close/>
                  <a:moveTo>
                    <a:pt x="2593042" y="3108198"/>
                  </a:moveTo>
                  <a:lnTo>
                    <a:pt x="2593677" y="3108198"/>
                  </a:lnTo>
                  <a:close/>
                  <a:moveTo>
                    <a:pt x="1265892" y="266700"/>
                  </a:moveTo>
                  <a:cubicBezTo>
                    <a:pt x="1131272" y="266700"/>
                    <a:pt x="1014813" y="312420"/>
                    <a:pt x="929088" y="398780"/>
                  </a:cubicBezTo>
                  <a:cubicBezTo>
                    <a:pt x="837775" y="491363"/>
                    <a:pt x="785578" y="628650"/>
                    <a:pt x="796246" y="748284"/>
                  </a:cubicBezTo>
                  <a:cubicBezTo>
                    <a:pt x="808946" y="888746"/>
                    <a:pt x="903688" y="1008126"/>
                    <a:pt x="1013543" y="1146429"/>
                  </a:cubicBezTo>
                  <a:lnTo>
                    <a:pt x="1014813" y="1147953"/>
                  </a:lnTo>
                  <a:lnTo>
                    <a:pt x="1015575" y="1148969"/>
                  </a:lnTo>
                  <a:cubicBezTo>
                    <a:pt x="1037038" y="1176020"/>
                    <a:pt x="1063708" y="1209548"/>
                    <a:pt x="1088981" y="1243076"/>
                  </a:cubicBezTo>
                  <a:lnTo>
                    <a:pt x="1088981" y="1243076"/>
                  </a:lnTo>
                  <a:lnTo>
                    <a:pt x="1088981" y="1243076"/>
                  </a:lnTo>
                  <a:lnTo>
                    <a:pt x="1088981" y="1243076"/>
                  </a:lnTo>
                  <a:cubicBezTo>
                    <a:pt x="1262590" y="1164336"/>
                    <a:pt x="1394543" y="1085596"/>
                    <a:pt x="1492333" y="1002665"/>
                  </a:cubicBezTo>
                  <a:cubicBezTo>
                    <a:pt x="1624032" y="890778"/>
                    <a:pt x="1690580" y="771398"/>
                    <a:pt x="1689945" y="647065"/>
                  </a:cubicBezTo>
                  <a:cubicBezTo>
                    <a:pt x="1688675" y="433324"/>
                    <a:pt x="1540212" y="284353"/>
                    <a:pt x="1311612" y="267589"/>
                  </a:cubicBezTo>
                  <a:cubicBezTo>
                    <a:pt x="1296372" y="267208"/>
                    <a:pt x="1281513" y="266700"/>
                    <a:pt x="1265892" y="266700"/>
                  </a:cubicBezTo>
                  <a:close/>
                </a:path>
              </a:pathLst>
            </a:custGeom>
            <a:solidFill>
              <a:schemeClr val="tx1"/>
            </a:solidFill>
            <a:ln w="1270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E926507F-ED8C-4F51-867C-559B7855D4C8}"/>
                </a:ext>
              </a:extLst>
            </p:cNvPr>
            <p:cNvSpPr/>
            <p:nvPr/>
          </p:nvSpPr>
          <p:spPr>
            <a:xfrm>
              <a:off x="2196074" y="4545830"/>
              <a:ext cx="2005954" cy="1148317"/>
            </a:xfrm>
            <a:custGeom>
              <a:avLst/>
              <a:gdLst>
                <a:gd name="connsiteX0" fmla="*/ 133592 w 2207203"/>
                <a:gd name="connsiteY0" fmla="*/ 1263523 h 1263523"/>
                <a:gd name="connsiteX1" fmla="*/ 0 w 2207203"/>
                <a:gd name="connsiteY1" fmla="*/ 1130161 h 1263523"/>
                <a:gd name="connsiteX2" fmla="*/ 35293 w 2207203"/>
                <a:gd name="connsiteY2" fmla="*/ 1039622 h 1263523"/>
                <a:gd name="connsiteX3" fmla="*/ 54851 w 2207203"/>
                <a:gd name="connsiteY3" fmla="*/ 1017397 h 1263523"/>
                <a:gd name="connsiteX4" fmla="*/ 125971 w 2207203"/>
                <a:gd name="connsiteY4" fmla="*/ 928497 h 1263523"/>
                <a:gd name="connsiteX5" fmla="*/ 154546 w 2207203"/>
                <a:gd name="connsiteY5" fmla="*/ 890397 h 1263523"/>
                <a:gd name="connsiteX6" fmla="*/ 178803 w 2207203"/>
                <a:gd name="connsiteY6" fmla="*/ 849503 h 1263523"/>
                <a:gd name="connsiteX7" fmla="*/ 216903 w 2207203"/>
                <a:gd name="connsiteY7" fmla="*/ 772160 h 1263523"/>
                <a:gd name="connsiteX8" fmla="*/ 243827 w 2207203"/>
                <a:gd name="connsiteY8" fmla="*/ 708660 h 1263523"/>
                <a:gd name="connsiteX9" fmla="*/ 262623 w 2207203"/>
                <a:gd name="connsiteY9" fmla="*/ 648970 h 1263523"/>
                <a:gd name="connsiteX10" fmla="*/ 277228 w 2207203"/>
                <a:gd name="connsiteY10" fmla="*/ 581406 h 1263523"/>
                <a:gd name="connsiteX11" fmla="*/ 288658 w 2207203"/>
                <a:gd name="connsiteY11" fmla="*/ 496824 h 1263523"/>
                <a:gd name="connsiteX12" fmla="*/ 298437 w 2207203"/>
                <a:gd name="connsiteY12" fmla="*/ 387477 h 1263523"/>
                <a:gd name="connsiteX13" fmla="*/ 299072 w 2207203"/>
                <a:gd name="connsiteY13" fmla="*/ 378714 h 1263523"/>
                <a:gd name="connsiteX14" fmla="*/ 307836 w 2207203"/>
                <a:gd name="connsiteY14" fmla="*/ 249047 h 1263523"/>
                <a:gd name="connsiteX15" fmla="*/ 313677 w 2207203"/>
                <a:gd name="connsiteY15" fmla="*/ 127000 h 1263523"/>
                <a:gd name="connsiteX16" fmla="*/ 446900 w 2207203"/>
                <a:gd name="connsiteY16" fmla="*/ 0 h 1263523"/>
                <a:gd name="connsiteX17" fmla="*/ 805040 w 2207203"/>
                <a:gd name="connsiteY17" fmla="*/ 0 h 1263523"/>
                <a:gd name="connsiteX18" fmla="*/ 2071611 w 2207203"/>
                <a:gd name="connsiteY18" fmla="*/ 6350 h 1263523"/>
                <a:gd name="connsiteX19" fmla="*/ 2207184 w 2207203"/>
                <a:gd name="connsiteY19" fmla="*/ 137478 h 1263523"/>
                <a:gd name="connsiteX20" fmla="*/ 2076057 w 2207203"/>
                <a:gd name="connsiteY20" fmla="*/ 273050 h 1263523"/>
                <a:gd name="connsiteX21" fmla="*/ 796531 w 2207203"/>
                <a:gd name="connsiteY21" fmla="*/ 266573 h 1263523"/>
                <a:gd name="connsiteX22" fmla="*/ 574281 w 2207203"/>
                <a:gd name="connsiteY22" fmla="*/ 266573 h 1263523"/>
                <a:gd name="connsiteX23" fmla="*/ 565518 w 2207203"/>
                <a:gd name="connsiteY23" fmla="*/ 398780 h 1263523"/>
                <a:gd name="connsiteX24" fmla="*/ 564756 w 2207203"/>
                <a:gd name="connsiteY24" fmla="*/ 407416 h 1263523"/>
                <a:gd name="connsiteX25" fmla="*/ 554215 w 2207203"/>
                <a:gd name="connsiteY25" fmla="*/ 525653 h 1263523"/>
                <a:gd name="connsiteX26" fmla="*/ 540499 w 2207203"/>
                <a:gd name="connsiteY26" fmla="*/ 626237 h 1263523"/>
                <a:gd name="connsiteX27" fmla="*/ 520942 w 2207203"/>
                <a:gd name="connsiteY27" fmla="*/ 716915 h 1263523"/>
                <a:gd name="connsiteX28" fmla="*/ 494271 w 2207203"/>
                <a:gd name="connsiteY28" fmla="*/ 801243 h 1263523"/>
                <a:gd name="connsiteX29" fmla="*/ 459473 w 2207203"/>
                <a:gd name="connsiteY29" fmla="*/ 884428 h 1263523"/>
                <a:gd name="connsiteX30" fmla="*/ 416167 w 2207203"/>
                <a:gd name="connsiteY30" fmla="*/ 972185 h 1263523"/>
                <a:gd name="connsiteX31" fmla="*/ 368542 w 2207203"/>
                <a:gd name="connsiteY31" fmla="*/ 1050417 h 1263523"/>
                <a:gd name="connsiteX32" fmla="*/ 338061 w 2207203"/>
                <a:gd name="connsiteY32" fmla="*/ 1090549 h 1263523"/>
                <a:gd name="connsiteX33" fmla="*/ 258433 w 2207203"/>
                <a:gd name="connsiteY33" fmla="*/ 1190371 h 1263523"/>
                <a:gd name="connsiteX34" fmla="*/ 231636 w 2207203"/>
                <a:gd name="connsiteY34" fmla="*/ 1220851 h 1263523"/>
                <a:gd name="connsiteX35" fmla="*/ 133592 w 2207203"/>
                <a:gd name="connsiteY35" fmla="*/ 1263523 h 126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7203" h="1263523">
                  <a:moveTo>
                    <a:pt x="133592" y="1263523"/>
                  </a:moveTo>
                  <a:cubicBezTo>
                    <a:pt x="59881" y="1263587"/>
                    <a:pt x="64" y="1203884"/>
                    <a:pt x="0" y="1130161"/>
                  </a:cubicBezTo>
                  <a:cubicBezTo>
                    <a:pt x="-25" y="1096620"/>
                    <a:pt x="12573" y="1064298"/>
                    <a:pt x="35293" y="1039622"/>
                  </a:cubicBezTo>
                  <a:cubicBezTo>
                    <a:pt x="42024" y="1032383"/>
                    <a:pt x="47993" y="1025017"/>
                    <a:pt x="54851" y="1017397"/>
                  </a:cubicBezTo>
                  <a:cubicBezTo>
                    <a:pt x="80251" y="987298"/>
                    <a:pt x="105651" y="955421"/>
                    <a:pt x="125971" y="928497"/>
                  </a:cubicBezTo>
                  <a:cubicBezTo>
                    <a:pt x="135750" y="915797"/>
                    <a:pt x="145275" y="903097"/>
                    <a:pt x="154546" y="890397"/>
                  </a:cubicBezTo>
                  <a:cubicBezTo>
                    <a:pt x="163729" y="877443"/>
                    <a:pt x="171844" y="863765"/>
                    <a:pt x="178803" y="849503"/>
                  </a:cubicBezTo>
                  <a:cubicBezTo>
                    <a:pt x="194297" y="819404"/>
                    <a:pt x="206362" y="794893"/>
                    <a:pt x="216903" y="772160"/>
                  </a:cubicBezTo>
                  <a:cubicBezTo>
                    <a:pt x="227444" y="749427"/>
                    <a:pt x="236334" y="728091"/>
                    <a:pt x="243827" y="708660"/>
                  </a:cubicBezTo>
                  <a:cubicBezTo>
                    <a:pt x="251320" y="689229"/>
                    <a:pt x="257670" y="668274"/>
                    <a:pt x="262623" y="648970"/>
                  </a:cubicBezTo>
                  <a:cubicBezTo>
                    <a:pt x="267576" y="629666"/>
                    <a:pt x="272911" y="606298"/>
                    <a:pt x="277228" y="581406"/>
                  </a:cubicBezTo>
                  <a:cubicBezTo>
                    <a:pt x="281546" y="556514"/>
                    <a:pt x="285102" y="529463"/>
                    <a:pt x="288658" y="496824"/>
                  </a:cubicBezTo>
                  <a:cubicBezTo>
                    <a:pt x="292214" y="464185"/>
                    <a:pt x="295389" y="428879"/>
                    <a:pt x="298437" y="387477"/>
                  </a:cubicBezTo>
                  <a:lnTo>
                    <a:pt x="299072" y="378714"/>
                  </a:lnTo>
                  <a:cubicBezTo>
                    <a:pt x="302501" y="334010"/>
                    <a:pt x="305676" y="291719"/>
                    <a:pt x="307836" y="249047"/>
                  </a:cubicBezTo>
                  <a:lnTo>
                    <a:pt x="313677" y="127000"/>
                  </a:lnTo>
                  <a:cubicBezTo>
                    <a:pt x="317132" y="55918"/>
                    <a:pt x="375742" y="51"/>
                    <a:pt x="446900" y="0"/>
                  </a:cubicBezTo>
                  <a:lnTo>
                    <a:pt x="805040" y="0"/>
                  </a:lnTo>
                  <a:cubicBezTo>
                    <a:pt x="809612" y="0"/>
                    <a:pt x="1273671" y="19685"/>
                    <a:pt x="2071611" y="6350"/>
                  </a:cubicBezTo>
                  <a:cubicBezTo>
                    <a:pt x="2145259" y="5118"/>
                    <a:pt x="2205952" y="63830"/>
                    <a:pt x="2207184" y="137478"/>
                  </a:cubicBezTo>
                  <a:cubicBezTo>
                    <a:pt x="2208416" y="211125"/>
                    <a:pt x="2149704" y="271818"/>
                    <a:pt x="2076057" y="273050"/>
                  </a:cubicBezTo>
                  <a:cubicBezTo>
                    <a:pt x="1303134" y="285750"/>
                    <a:pt x="838187" y="268351"/>
                    <a:pt x="796531" y="266573"/>
                  </a:cubicBezTo>
                  <a:lnTo>
                    <a:pt x="574281" y="266573"/>
                  </a:lnTo>
                  <a:cubicBezTo>
                    <a:pt x="572123" y="311277"/>
                    <a:pt x="568693" y="355473"/>
                    <a:pt x="565518" y="398780"/>
                  </a:cubicBezTo>
                  <a:lnTo>
                    <a:pt x="564756" y="407416"/>
                  </a:lnTo>
                  <a:cubicBezTo>
                    <a:pt x="561454" y="451612"/>
                    <a:pt x="558026" y="490347"/>
                    <a:pt x="554215" y="525653"/>
                  </a:cubicBezTo>
                  <a:cubicBezTo>
                    <a:pt x="550024" y="563753"/>
                    <a:pt x="545579" y="596138"/>
                    <a:pt x="540499" y="626237"/>
                  </a:cubicBezTo>
                  <a:cubicBezTo>
                    <a:pt x="534784" y="659384"/>
                    <a:pt x="528434" y="688848"/>
                    <a:pt x="520942" y="716915"/>
                  </a:cubicBezTo>
                  <a:cubicBezTo>
                    <a:pt x="513448" y="744982"/>
                    <a:pt x="504812" y="772541"/>
                    <a:pt x="494271" y="801243"/>
                  </a:cubicBezTo>
                  <a:cubicBezTo>
                    <a:pt x="484365" y="827913"/>
                    <a:pt x="472936" y="854964"/>
                    <a:pt x="459473" y="884428"/>
                  </a:cubicBezTo>
                  <a:cubicBezTo>
                    <a:pt x="446773" y="911098"/>
                    <a:pt x="433311" y="938784"/>
                    <a:pt x="416167" y="972185"/>
                  </a:cubicBezTo>
                  <a:cubicBezTo>
                    <a:pt x="402514" y="999554"/>
                    <a:pt x="386575" y="1025716"/>
                    <a:pt x="368542" y="1050417"/>
                  </a:cubicBezTo>
                  <a:cubicBezTo>
                    <a:pt x="358762" y="1063117"/>
                    <a:pt x="348475" y="1077087"/>
                    <a:pt x="338061" y="1090549"/>
                  </a:cubicBezTo>
                  <a:cubicBezTo>
                    <a:pt x="315455" y="1120140"/>
                    <a:pt x="288023" y="1155446"/>
                    <a:pt x="258433" y="1190371"/>
                  </a:cubicBezTo>
                  <a:cubicBezTo>
                    <a:pt x="249669" y="1200785"/>
                    <a:pt x="240779" y="1210945"/>
                    <a:pt x="231636" y="1220851"/>
                  </a:cubicBezTo>
                  <a:cubicBezTo>
                    <a:pt x="206324" y="1248118"/>
                    <a:pt x="170790" y="1263587"/>
                    <a:pt x="133592" y="1263523"/>
                  </a:cubicBezTo>
                  <a:close/>
                </a:path>
              </a:pathLst>
            </a:custGeom>
            <a:solidFill>
              <a:srgbClr val="333D47"/>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136502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67195B01-251E-4F55-9C90-D997DDCDBF20}"/>
              </a:ext>
            </a:extLst>
          </p:cNvPr>
          <p:cNvSpPr/>
          <p:nvPr userDrawn="1"/>
        </p:nvSpPr>
        <p:spPr>
          <a:xfrm>
            <a:off x="7441294" y="4545904"/>
            <a:ext cx="4750706" cy="242355"/>
          </a:xfrm>
          <a:custGeom>
            <a:avLst/>
            <a:gdLst>
              <a:gd name="connsiteX0" fmla="*/ 121178 w 4750706"/>
              <a:gd name="connsiteY0" fmla="*/ 0 h 242355"/>
              <a:gd name="connsiteX1" fmla="*/ 4750706 w 4750706"/>
              <a:gd name="connsiteY1" fmla="*/ 0 h 242355"/>
              <a:gd name="connsiteX2" fmla="*/ 4750706 w 4750706"/>
              <a:gd name="connsiteY2" fmla="*/ 242355 h 242355"/>
              <a:gd name="connsiteX3" fmla="*/ 121178 w 4750706"/>
              <a:gd name="connsiteY3" fmla="*/ 242355 h 242355"/>
              <a:gd name="connsiteX4" fmla="*/ 0 w 4750706"/>
              <a:gd name="connsiteY4" fmla="*/ 121178 h 242355"/>
              <a:gd name="connsiteX5" fmla="*/ 121178 w 4750706"/>
              <a:gd name="connsiteY5" fmla="*/ 0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0706" h="242355">
                <a:moveTo>
                  <a:pt x="121178" y="0"/>
                </a:moveTo>
                <a:lnTo>
                  <a:pt x="4750706" y="0"/>
                </a:lnTo>
                <a:lnTo>
                  <a:pt x="4750706" y="242355"/>
                </a:lnTo>
                <a:lnTo>
                  <a:pt x="121178" y="242355"/>
                </a:lnTo>
                <a:cubicBezTo>
                  <a:pt x="54253" y="242355"/>
                  <a:pt x="0" y="188102"/>
                  <a:pt x="0" y="121178"/>
                </a:cubicBezTo>
                <a:cubicBezTo>
                  <a:pt x="0" y="54253"/>
                  <a:pt x="54253" y="0"/>
                  <a:pt x="12117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18" name="Freeform: Shape 17">
            <a:extLst>
              <a:ext uri="{FF2B5EF4-FFF2-40B4-BE49-F238E27FC236}">
                <a16:creationId xmlns:a16="http://schemas.microsoft.com/office/drawing/2014/main" id="{A267C1ED-C691-4356-925A-A73041BB43C3}"/>
              </a:ext>
            </a:extLst>
          </p:cNvPr>
          <p:cNvSpPr/>
          <p:nvPr userDrawn="1"/>
        </p:nvSpPr>
        <p:spPr>
          <a:xfrm>
            <a:off x="0" y="3"/>
            <a:ext cx="12193141" cy="6858001"/>
          </a:xfrm>
          <a:custGeom>
            <a:avLst/>
            <a:gdLst>
              <a:gd name="connsiteX0" fmla="*/ 0 w 1100903"/>
              <a:gd name="connsiteY0" fmla="*/ 0 h 619200"/>
              <a:gd name="connsiteX1" fmla="*/ 1100903 w 1100903"/>
              <a:gd name="connsiteY1" fmla="*/ 0 h 619200"/>
              <a:gd name="connsiteX2" fmla="*/ 1100903 w 1100903"/>
              <a:gd name="connsiteY2" fmla="*/ 619200 h 619200"/>
              <a:gd name="connsiteX3" fmla="*/ 0 w 1100903"/>
              <a:gd name="connsiteY3" fmla="*/ 619200 h 619200"/>
            </a:gdLst>
            <a:ahLst/>
            <a:cxnLst>
              <a:cxn ang="0">
                <a:pos x="connsiteX0" y="connsiteY0"/>
              </a:cxn>
              <a:cxn ang="0">
                <a:pos x="connsiteX1" y="connsiteY1"/>
              </a:cxn>
              <a:cxn ang="0">
                <a:pos x="connsiteX2" y="connsiteY2"/>
              </a:cxn>
              <a:cxn ang="0">
                <a:pos x="connsiteX3" y="connsiteY3"/>
              </a:cxn>
            </a:cxnLst>
            <a:rect l="l" t="t" r="r" b="b"/>
            <a:pathLst>
              <a:path w="1100903" h="619200">
                <a:moveTo>
                  <a:pt x="0" y="0"/>
                </a:moveTo>
                <a:lnTo>
                  <a:pt x="1100903" y="0"/>
                </a:lnTo>
                <a:lnTo>
                  <a:pt x="1100903" y="619200"/>
                </a:lnTo>
                <a:lnTo>
                  <a:pt x="0" y="619200"/>
                </a:lnTo>
                <a:close/>
              </a:path>
            </a:pathLst>
          </a:custGeom>
          <a:noFill/>
          <a:ln w="114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786E751-57D9-4C2B-A06E-60CD5FE60C97}"/>
              </a:ext>
            </a:extLst>
          </p:cNvPr>
          <p:cNvSpPr/>
          <p:nvPr/>
        </p:nvSpPr>
        <p:spPr>
          <a:xfrm>
            <a:off x="-1" y="-49108"/>
            <a:ext cx="12192125" cy="6857999"/>
          </a:xfrm>
          <a:custGeom>
            <a:avLst/>
            <a:gdLst>
              <a:gd name="connsiteX0" fmla="*/ 0 w 12192125"/>
              <a:gd name="connsiteY0" fmla="*/ 0 h 6857999"/>
              <a:gd name="connsiteX1" fmla="*/ 12192126 w 12192125"/>
              <a:gd name="connsiteY1" fmla="*/ 0 h 6857999"/>
              <a:gd name="connsiteX2" fmla="*/ 12192126 w 12192125"/>
              <a:gd name="connsiteY2" fmla="*/ 6857999 h 6857999"/>
              <a:gd name="connsiteX3" fmla="*/ 0 w 1219212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125" h="6857999">
                <a:moveTo>
                  <a:pt x="0" y="0"/>
                </a:moveTo>
                <a:lnTo>
                  <a:pt x="12192126" y="0"/>
                </a:lnTo>
                <a:lnTo>
                  <a:pt x="12192126" y="6857999"/>
                </a:lnTo>
                <a:lnTo>
                  <a:pt x="0" y="6857999"/>
                </a:lnTo>
                <a:close/>
              </a:path>
            </a:pathLst>
          </a:custGeom>
          <a:noFill/>
          <a:ln w="1269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F2B3881-4330-4017-A73B-0482E4BA5A07}"/>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826C91B-FE38-4E67-81B3-F37DF7FA9765}"/>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A8B3DCA-50C5-4313-B797-318FE3CECA01}"/>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49E25AF8-DB78-48DE-9F1A-C4EE739E577D}"/>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BCA0938-8A11-4B15-956F-3550D2AF9C90}"/>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9691F4C-685D-4CDA-A320-97078A5E588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66DC782-5573-42F8-9128-BAE8D5B23626}"/>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EB7EFBA-995D-493D-B032-7FAD4708FEDE}"/>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35991226-06AD-4618-AF4B-05632532D59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793C5B4-9752-4964-9D24-8870AE4659C6}"/>
              </a:ext>
            </a:extLst>
          </p:cNvPr>
          <p:cNvSpPr/>
          <p:nvPr/>
        </p:nvSpPr>
        <p:spPr>
          <a:xfrm>
            <a:off x="454409" y="2997716"/>
            <a:ext cx="2588256" cy="3158926"/>
          </a:xfrm>
          <a:custGeom>
            <a:avLst/>
            <a:gdLst>
              <a:gd name="connsiteX0" fmla="*/ 1040913 w 2848250"/>
              <a:gd name="connsiteY0" fmla="*/ 3476244 h 3476245"/>
              <a:gd name="connsiteX1" fmla="*/ 992526 w 2848250"/>
              <a:gd name="connsiteY1" fmla="*/ 3475355 h 3476245"/>
              <a:gd name="connsiteX2" fmla="*/ 264308 w 2848250"/>
              <a:gd name="connsiteY2" fmla="*/ 3112008 h 3476245"/>
              <a:gd name="connsiteX3" fmla="*/ 3831 w 2848250"/>
              <a:gd name="connsiteY3" fmla="*/ 2333244 h 3476245"/>
              <a:gd name="connsiteX4" fmla="*/ 324506 w 2848250"/>
              <a:gd name="connsiteY4" fmla="*/ 1649984 h 3476245"/>
              <a:gd name="connsiteX5" fmla="*/ 830093 w 2848250"/>
              <a:gd name="connsiteY5" fmla="*/ 1345184 h 3476245"/>
              <a:gd name="connsiteX6" fmla="*/ 805963 w 2848250"/>
              <a:gd name="connsiteY6" fmla="*/ 1314704 h 3476245"/>
              <a:gd name="connsiteX7" fmla="*/ 804312 w 2848250"/>
              <a:gd name="connsiteY7" fmla="*/ 1312672 h 3476245"/>
              <a:gd name="connsiteX8" fmla="*/ 529865 w 2848250"/>
              <a:gd name="connsiteY8" fmla="*/ 771906 h 3476245"/>
              <a:gd name="connsiteX9" fmla="*/ 738653 w 2848250"/>
              <a:gd name="connsiteY9" fmla="*/ 211201 h 3476245"/>
              <a:gd name="connsiteX10" fmla="*/ 1265068 w 2848250"/>
              <a:gd name="connsiteY10" fmla="*/ 0 h 3476245"/>
              <a:gd name="connsiteX11" fmla="*/ 1332251 w 2848250"/>
              <a:gd name="connsiteY11" fmla="*/ 2667 h 3476245"/>
              <a:gd name="connsiteX12" fmla="*/ 1956583 w 2848250"/>
              <a:gd name="connsiteY12" fmla="*/ 646430 h 3476245"/>
              <a:gd name="connsiteX13" fmla="*/ 1664483 w 2848250"/>
              <a:gd name="connsiteY13" fmla="*/ 1206119 h 3476245"/>
              <a:gd name="connsiteX14" fmla="*/ 1254527 w 2848250"/>
              <a:gd name="connsiteY14" fmla="*/ 1460119 h 3476245"/>
              <a:gd name="connsiteX15" fmla="*/ 2175404 w 2848250"/>
              <a:gd name="connsiteY15" fmla="*/ 2642108 h 3476245"/>
              <a:gd name="connsiteX16" fmla="*/ 2295165 w 2848250"/>
              <a:gd name="connsiteY16" fmla="*/ 2789174 h 3476245"/>
              <a:gd name="connsiteX17" fmla="*/ 2593488 w 2848250"/>
              <a:gd name="connsiteY17" fmla="*/ 3108833 h 3476245"/>
              <a:gd name="connsiteX18" fmla="*/ 2621429 w 2848250"/>
              <a:gd name="connsiteY18" fmla="*/ 3131439 h 3476245"/>
              <a:gd name="connsiteX19" fmla="*/ 2627270 w 2848250"/>
              <a:gd name="connsiteY19" fmla="*/ 3136392 h 3476245"/>
              <a:gd name="connsiteX20" fmla="*/ 2714900 w 2848250"/>
              <a:gd name="connsiteY20" fmla="*/ 3141853 h 3476245"/>
              <a:gd name="connsiteX21" fmla="*/ 2848250 w 2848250"/>
              <a:gd name="connsiteY21" fmla="*/ 3141853 h 3476245"/>
              <a:gd name="connsiteX22" fmla="*/ 2848250 w 2848250"/>
              <a:gd name="connsiteY22" fmla="*/ 3408553 h 3476245"/>
              <a:gd name="connsiteX23" fmla="*/ 2714900 w 2848250"/>
              <a:gd name="connsiteY23" fmla="*/ 3408553 h 3476245"/>
              <a:gd name="connsiteX24" fmla="*/ 2446930 w 2848250"/>
              <a:gd name="connsiteY24" fmla="*/ 3333623 h 3476245"/>
              <a:gd name="connsiteX25" fmla="*/ 2434230 w 2848250"/>
              <a:gd name="connsiteY25" fmla="*/ 3322955 h 3476245"/>
              <a:gd name="connsiteX26" fmla="*/ 2102125 w 2848250"/>
              <a:gd name="connsiteY26" fmla="*/ 2973959 h 3476245"/>
              <a:gd name="connsiteX27" fmla="*/ 1641115 w 2848250"/>
              <a:gd name="connsiteY27" fmla="*/ 3332353 h 3476245"/>
              <a:gd name="connsiteX28" fmla="*/ 1040913 w 2848250"/>
              <a:gd name="connsiteY28" fmla="*/ 3476244 h 3476245"/>
              <a:gd name="connsiteX29" fmla="*/ 931693 w 2848250"/>
              <a:gd name="connsiteY29" fmla="*/ 1592326 h 3476245"/>
              <a:gd name="connsiteX30" fmla="*/ 506624 w 2848250"/>
              <a:gd name="connsiteY30" fmla="*/ 1845437 h 3476245"/>
              <a:gd name="connsiteX31" fmla="*/ 269642 w 2848250"/>
              <a:gd name="connsiteY31" fmla="*/ 2354707 h 3476245"/>
              <a:gd name="connsiteX32" fmla="*/ 463444 w 2848250"/>
              <a:gd name="connsiteY32" fmla="*/ 2934335 h 3476245"/>
              <a:gd name="connsiteX33" fmla="*/ 1001416 w 2848250"/>
              <a:gd name="connsiteY33" fmla="*/ 3208655 h 3476245"/>
              <a:gd name="connsiteX34" fmla="*/ 1521354 w 2848250"/>
              <a:gd name="connsiteY34" fmla="*/ 3094355 h 3476245"/>
              <a:gd name="connsiteX35" fmla="*/ 1932199 w 2848250"/>
              <a:gd name="connsiteY35" fmla="*/ 2765044 h 3476245"/>
              <a:gd name="connsiteX36" fmla="*/ 1884066 w 2848250"/>
              <a:gd name="connsiteY36" fmla="*/ 2705862 h 3476245"/>
              <a:gd name="connsiteX37" fmla="*/ 1886225 w 2848250"/>
              <a:gd name="connsiteY37" fmla="*/ 2704084 h 3476245"/>
              <a:gd name="connsiteX38" fmla="*/ 1000400 w 2848250"/>
              <a:gd name="connsiteY38" fmla="*/ 1567434 h 3476245"/>
              <a:gd name="connsiteX39" fmla="*/ 2592726 w 2848250"/>
              <a:gd name="connsiteY39" fmla="*/ 3107944 h 3476245"/>
              <a:gd name="connsiteX40" fmla="*/ 2592726 w 2848250"/>
              <a:gd name="connsiteY40" fmla="*/ 3107944 h 3476245"/>
              <a:gd name="connsiteX41" fmla="*/ 1264814 w 2848250"/>
              <a:gd name="connsiteY41" fmla="*/ 267081 h 3476245"/>
              <a:gd name="connsiteX42" fmla="*/ 928010 w 2848250"/>
              <a:gd name="connsiteY42" fmla="*/ 399161 h 3476245"/>
              <a:gd name="connsiteX43" fmla="*/ 795295 w 2848250"/>
              <a:gd name="connsiteY43" fmla="*/ 748665 h 3476245"/>
              <a:gd name="connsiteX44" fmla="*/ 1012592 w 2848250"/>
              <a:gd name="connsiteY44" fmla="*/ 1146683 h 3476245"/>
              <a:gd name="connsiteX45" fmla="*/ 1014116 w 2848250"/>
              <a:gd name="connsiteY45" fmla="*/ 1148715 h 3476245"/>
              <a:gd name="connsiteX46" fmla="*/ 1088030 w 2848250"/>
              <a:gd name="connsiteY46" fmla="*/ 1243330 h 3476245"/>
              <a:gd name="connsiteX47" fmla="*/ 1088030 w 2848250"/>
              <a:gd name="connsiteY47" fmla="*/ 1243330 h 3476245"/>
              <a:gd name="connsiteX48" fmla="*/ 1088030 w 2848250"/>
              <a:gd name="connsiteY48" fmla="*/ 1243330 h 3476245"/>
              <a:gd name="connsiteX49" fmla="*/ 1088030 w 2848250"/>
              <a:gd name="connsiteY49" fmla="*/ 1243330 h 3476245"/>
              <a:gd name="connsiteX50" fmla="*/ 1491382 w 2848250"/>
              <a:gd name="connsiteY50" fmla="*/ 1002792 h 3476245"/>
              <a:gd name="connsiteX51" fmla="*/ 1688867 w 2848250"/>
              <a:gd name="connsiteY51" fmla="*/ 648081 h 3476245"/>
              <a:gd name="connsiteX52" fmla="*/ 1310661 w 2848250"/>
              <a:gd name="connsiteY52" fmla="*/ 268732 h 3476245"/>
              <a:gd name="connsiteX53" fmla="*/ 1264814 w 2848250"/>
              <a:gd name="connsiteY53" fmla="*/ 267081 h 34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848250" h="3476245">
                <a:moveTo>
                  <a:pt x="1040913" y="3476244"/>
                </a:moveTo>
                <a:cubicBezTo>
                  <a:pt x="1024911" y="3476244"/>
                  <a:pt x="1008528" y="3476244"/>
                  <a:pt x="992526" y="3475355"/>
                </a:cubicBezTo>
                <a:cubicBezTo>
                  <a:pt x="727604" y="3466592"/>
                  <a:pt x="462174" y="3334131"/>
                  <a:pt x="264308" y="3112008"/>
                </a:cubicBezTo>
                <a:cubicBezTo>
                  <a:pt x="73564" y="2899588"/>
                  <a:pt x="-20728" y="2617678"/>
                  <a:pt x="3831" y="2333244"/>
                </a:cubicBezTo>
                <a:cubicBezTo>
                  <a:pt x="24532" y="2056130"/>
                  <a:pt x="129434" y="1832356"/>
                  <a:pt x="324506" y="1649984"/>
                </a:cubicBezTo>
                <a:cubicBezTo>
                  <a:pt x="493797" y="1491615"/>
                  <a:pt x="692806" y="1400302"/>
                  <a:pt x="830093" y="1345184"/>
                </a:cubicBezTo>
                <a:lnTo>
                  <a:pt x="805963" y="1314704"/>
                </a:lnTo>
                <a:lnTo>
                  <a:pt x="804312" y="1312672"/>
                </a:lnTo>
                <a:cubicBezTo>
                  <a:pt x="678836" y="1154684"/>
                  <a:pt x="549423" y="991870"/>
                  <a:pt x="529865" y="771906"/>
                </a:cubicBezTo>
                <a:cubicBezTo>
                  <a:pt x="512339" y="574421"/>
                  <a:pt x="592349" y="359664"/>
                  <a:pt x="738653" y="211201"/>
                </a:cubicBezTo>
                <a:cubicBezTo>
                  <a:pt x="875940" y="73025"/>
                  <a:pt x="1057804" y="0"/>
                  <a:pt x="1265068" y="0"/>
                </a:cubicBezTo>
                <a:cubicBezTo>
                  <a:pt x="1288563" y="0"/>
                  <a:pt x="1310534" y="889"/>
                  <a:pt x="1332251" y="2667"/>
                </a:cubicBezTo>
                <a:cubicBezTo>
                  <a:pt x="1697376" y="29337"/>
                  <a:pt x="1954551" y="294132"/>
                  <a:pt x="1956583" y="646430"/>
                </a:cubicBezTo>
                <a:cubicBezTo>
                  <a:pt x="1957726" y="852551"/>
                  <a:pt x="1859682" y="1040765"/>
                  <a:pt x="1664483" y="1206119"/>
                </a:cubicBezTo>
                <a:cubicBezTo>
                  <a:pt x="1558819" y="1295654"/>
                  <a:pt x="1424326" y="1379093"/>
                  <a:pt x="1254527" y="1460119"/>
                </a:cubicBezTo>
                <a:lnTo>
                  <a:pt x="2175404" y="2642108"/>
                </a:lnTo>
                <a:lnTo>
                  <a:pt x="2295165" y="2789174"/>
                </a:lnTo>
                <a:cubicBezTo>
                  <a:pt x="2437151" y="2951861"/>
                  <a:pt x="2567961" y="3087370"/>
                  <a:pt x="2593488" y="3108833"/>
                </a:cubicBezTo>
                <a:cubicBezTo>
                  <a:pt x="2605299" y="3117469"/>
                  <a:pt x="2614570" y="3125470"/>
                  <a:pt x="2621429" y="3131439"/>
                </a:cubicBezTo>
                <a:lnTo>
                  <a:pt x="2627270" y="3136392"/>
                </a:lnTo>
                <a:cubicBezTo>
                  <a:pt x="2656210" y="3141259"/>
                  <a:pt x="2685580" y="3143089"/>
                  <a:pt x="2714900" y="3141853"/>
                </a:cubicBezTo>
                <a:lnTo>
                  <a:pt x="2848250" y="3141853"/>
                </a:lnTo>
                <a:lnTo>
                  <a:pt x="2848250" y="3408553"/>
                </a:lnTo>
                <a:lnTo>
                  <a:pt x="2714900" y="3408553"/>
                </a:lnTo>
                <a:cubicBezTo>
                  <a:pt x="2560214" y="3408553"/>
                  <a:pt x="2507636" y="3385820"/>
                  <a:pt x="2446930" y="3333623"/>
                </a:cubicBezTo>
                <a:cubicBezTo>
                  <a:pt x="2441977" y="3329305"/>
                  <a:pt x="2437913" y="3325876"/>
                  <a:pt x="2434230" y="3322955"/>
                </a:cubicBezTo>
                <a:cubicBezTo>
                  <a:pt x="2383430" y="3285744"/>
                  <a:pt x="2210075" y="3097149"/>
                  <a:pt x="2102125" y="2973959"/>
                </a:cubicBezTo>
                <a:cubicBezTo>
                  <a:pt x="1959504" y="3129026"/>
                  <a:pt x="1804564" y="3249422"/>
                  <a:pt x="1641115" y="3332353"/>
                </a:cubicBezTo>
                <a:cubicBezTo>
                  <a:pt x="1455274" y="3427192"/>
                  <a:pt x="1249555" y="3476510"/>
                  <a:pt x="1040913" y="3476244"/>
                </a:cubicBezTo>
                <a:close/>
                <a:moveTo>
                  <a:pt x="931693" y="1592326"/>
                </a:moveTo>
                <a:cubicBezTo>
                  <a:pt x="814726" y="1639443"/>
                  <a:pt x="644292" y="1716659"/>
                  <a:pt x="506624" y="1845437"/>
                </a:cubicBezTo>
                <a:cubicBezTo>
                  <a:pt x="360828" y="1981835"/>
                  <a:pt x="285517" y="2143633"/>
                  <a:pt x="269642" y="2354707"/>
                </a:cubicBezTo>
                <a:cubicBezTo>
                  <a:pt x="251454" y="2566386"/>
                  <a:pt x="321595" y="2776166"/>
                  <a:pt x="463444" y="2934335"/>
                </a:cubicBezTo>
                <a:cubicBezTo>
                  <a:pt x="610764" y="3099435"/>
                  <a:pt x="811932" y="3202305"/>
                  <a:pt x="1001416" y="3208655"/>
                </a:cubicBezTo>
                <a:cubicBezTo>
                  <a:pt x="1181635" y="3215452"/>
                  <a:pt x="1360603" y="3176109"/>
                  <a:pt x="1521354" y="3094355"/>
                </a:cubicBezTo>
                <a:cubicBezTo>
                  <a:pt x="1665753" y="3021076"/>
                  <a:pt x="1804056" y="2910332"/>
                  <a:pt x="1932199" y="2765044"/>
                </a:cubicBezTo>
                <a:lnTo>
                  <a:pt x="1884066" y="2705862"/>
                </a:lnTo>
                <a:lnTo>
                  <a:pt x="1886225" y="2704084"/>
                </a:lnTo>
                <a:lnTo>
                  <a:pt x="1000400" y="1567434"/>
                </a:lnTo>
                <a:close/>
                <a:moveTo>
                  <a:pt x="2592726" y="3107944"/>
                </a:moveTo>
                <a:lnTo>
                  <a:pt x="2592726" y="3107944"/>
                </a:lnTo>
                <a:close/>
                <a:moveTo>
                  <a:pt x="1264814" y="267081"/>
                </a:moveTo>
                <a:cubicBezTo>
                  <a:pt x="1130321" y="267081"/>
                  <a:pt x="1013735" y="312801"/>
                  <a:pt x="928010" y="399161"/>
                </a:cubicBezTo>
                <a:cubicBezTo>
                  <a:pt x="836824" y="491617"/>
                  <a:pt x="784627" y="628904"/>
                  <a:pt x="795295" y="748665"/>
                </a:cubicBezTo>
                <a:cubicBezTo>
                  <a:pt x="807995" y="888365"/>
                  <a:pt x="902610" y="1008380"/>
                  <a:pt x="1012592" y="1146683"/>
                </a:cubicBezTo>
                <a:lnTo>
                  <a:pt x="1014116" y="1148715"/>
                </a:lnTo>
                <a:cubicBezTo>
                  <a:pt x="1040786" y="1182243"/>
                  <a:pt x="1064916" y="1212215"/>
                  <a:pt x="1088030" y="1243330"/>
                </a:cubicBezTo>
                <a:lnTo>
                  <a:pt x="1088030" y="1243330"/>
                </a:lnTo>
                <a:lnTo>
                  <a:pt x="1088030" y="1243330"/>
                </a:lnTo>
                <a:lnTo>
                  <a:pt x="1088030" y="1243330"/>
                </a:lnTo>
                <a:cubicBezTo>
                  <a:pt x="1261639" y="1164590"/>
                  <a:pt x="1393592" y="1085850"/>
                  <a:pt x="1491382" y="1002792"/>
                </a:cubicBezTo>
                <a:cubicBezTo>
                  <a:pt x="1623081" y="891032"/>
                  <a:pt x="1689502" y="771652"/>
                  <a:pt x="1688867" y="648081"/>
                </a:cubicBezTo>
                <a:cubicBezTo>
                  <a:pt x="1687597" y="434340"/>
                  <a:pt x="1539134" y="285369"/>
                  <a:pt x="1310661" y="268732"/>
                </a:cubicBezTo>
                <a:cubicBezTo>
                  <a:pt x="1296056" y="267716"/>
                  <a:pt x="1281197" y="267081"/>
                  <a:pt x="1264814" y="267081"/>
                </a:cubicBezTo>
                <a:close/>
              </a:path>
            </a:pathLst>
          </a:custGeom>
          <a:solidFill>
            <a:srgbClr val="FFFFFF"/>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55A575-2D29-4CA2-B8AD-621A7489E9F3}"/>
              </a:ext>
            </a:extLst>
          </p:cNvPr>
          <p:cNvSpPr/>
          <p:nvPr/>
        </p:nvSpPr>
        <p:spPr>
          <a:xfrm>
            <a:off x="2195899" y="4546596"/>
            <a:ext cx="5688673" cy="1147495"/>
          </a:xfrm>
          <a:custGeom>
            <a:avLst/>
            <a:gdLst>
              <a:gd name="connsiteX0" fmla="*/ 133376 w 6260109"/>
              <a:gd name="connsiteY0" fmla="*/ 1262761 h 1262763"/>
              <a:gd name="connsiteX1" fmla="*/ 0 w 6260109"/>
              <a:gd name="connsiteY1" fmla="*/ 1129437 h 1262763"/>
              <a:gd name="connsiteX2" fmla="*/ 35458 w 6260109"/>
              <a:gd name="connsiteY2" fmla="*/ 1038860 h 1262763"/>
              <a:gd name="connsiteX3" fmla="*/ 55017 w 6260109"/>
              <a:gd name="connsiteY3" fmla="*/ 1016635 h 1262763"/>
              <a:gd name="connsiteX4" fmla="*/ 126137 w 6260109"/>
              <a:gd name="connsiteY4" fmla="*/ 927735 h 1262763"/>
              <a:gd name="connsiteX5" fmla="*/ 154458 w 6260109"/>
              <a:gd name="connsiteY5" fmla="*/ 890397 h 1262763"/>
              <a:gd name="connsiteX6" fmla="*/ 178715 w 6260109"/>
              <a:gd name="connsiteY6" fmla="*/ 849376 h 1262763"/>
              <a:gd name="connsiteX7" fmla="*/ 216815 w 6260109"/>
              <a:gd name="connsiteY7" fmla="*/ 772033 h 1262763"/>
              <a:gd name="connsiteX8" fmla="*/ 243739 w 6260109"/>
              <a:gd name="connsiteY8" fmla="*/ 708533 h 1262763"/>
              <a:gd name="connsiteX9" fmla="*/ 262662 w 6260109"/>
              <a:gd name="connsiteY9" fmla="*/ 648716 h 1262763"/>
              <a:gd name="connsiteX10" fmla="*/ 277013 w 6260109"/>
              <a:gd name="connsiteY10" fmla="*/ 581406 h 1262763"/>
              <a:gd name="connsiteX11" fmla="*/ 288570 w 6260109"/>
              <a:gd name="connsiteY11" fmla="*/ 496697 h 1262763"/>
              <a:gd name="connsiteX12" fmla="*/ 298349 w 6260109"/>
              <a:gd name="connsiteY12" fmla="*/ 387477 h 1262763"/>
              <a:gd name="connsiteX13" fmla="*/ 299111 w 6260109"/>
              <a:gd name="connsiteY13" fmla="*/ 377317 h 1262763"/>
              <a:gd name="connsiteX14" fmla="*/ 307620 w 6260109"/>
              <a:gd name="connsiteY14" fmla="*/ 249174 h 1262763"/>
              <a:gd name="connsiteX15" fmla="*/ 313589 w 6260109"/>
              <a:gd name="connsiteY15" fmla="*/ 127000 h 1262763"/>
              <a:gd name="connsiteX16" fmla="*/ 446812 w 6260109"/>
              <a:gd name="connsiteY16" fmla="*/ 0 h 1262763"/>
              <a:gd name="connsiteX17" fmla="*/ 6126760 w 6260109"/>
              <a:gd name="connsiteY17" fmla="*/ 0 h 1262763"/>
              <a:gd name="connsiteX18" fmla="*/ 6260110 w 6260109"/>
              <a:gd name="connsiteY18" fmla="*/ 133350 h 1262763"/>
              <a:gd name="connsiteX19" fmla="*/ 6126760 w 6260109"/>
              <a:gd name="connsiteY19" fmla="*/ 266700 h 1262763"/>
              <a:gd name="connsiteX20" fmla="*/ 573939 w 6260109"/>
              <a:gd name="connsiteY20" fmla="*/ 266700 h 1262763"/>
              <a:gd name="connsiteX21" fmla="*/ 565176 w 6260109"/>
              <a:gd name="connsiteY21" fmla="*/ 397383 h 1262763"/>
              <a:gd name="connsiteX22" fmla="*/ 564414 w 6260109"/>
              <a:gd name="connsiteY22" fmla="*/ 407416 h 1262763"/>
              <a:gd name="connsiteX23" fmla="*/ 553873 w 6260109"/>
              <a:gd name="connsiteY23" fmla="*/ 525526 h 1262763"/>
              <a:gd name="connsiteX24" fmla="*/ 540030 w 6260109"/>
              <a:gd name="connsiteY24" fmla="*/ 626237 h 1262763"/>
              <a:gd name="connsiteX25" fmla="*/ 520599 w 6260109"/>
              <a:gd name="connsiteY25" fmla="*/ 716788 h 1262763"/>
              <a:gd name="connsiteX26" fmla="*/ 493929 w 6260109"/>
              <a:gd name="connsiteY26" fmla="*/ 800989 h 1262763"/>
              <a:gd name="connsiteX27" fmla="*/ 459131 w 6260109"/>
              <a:gd name="connsiteY27" fmla="*/ 884301 h 1262763"/>
              <a:gd name="connsiteX28" fmla="*/ 415697 w 6260109"/>
              <a:gd name="connsiteY28" fmla="*/ 972058 h 1262763"/>
              <a:gd name="connsiteX29" fmla="*/ 368198 w 6260109"/>
              <a:gd name="connsiteY29" fmla="*/ 1050290 h 1262763"/>
              <a:gd name="connsiteX30" fmla="*/ 337846 w 6260109"/>
              <a:gd name="connsiteY30" fmla="*/ 1090295 h 1262763"/>
              <a:gd name="connsiteX31" fmla="*/ 258217 w 6260109"/>
              <a:gd name="connsiteY31" fmla="*/ 1190117 h 1262763"/>
              <a:gd name="connsiteX32" fmla="*/ 231166 w 6260109"/>
              <a:gd name="connsiteY32" fmla="*/ 1220724 h 1262763"/>
              <a:gd name="connsiteX33" fmla="*/ 133376 w 6260109"/>
              <a:gd name="connsiteY33" fmla="*/ 1262761 h 12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60109" h="1262763">
                <a:moveTo>
                  <a:pt x="133376" y="1262761"/>
                </a:moveTo>
                <a:cubicBezTo>
                  <a:pt x="59728" y="1262775"/>
                  <a:pt x="14" y="1203084"/>
                  <a:pt x="0" y="1129437"/>
                </a:cubicBezTo>
                <a:cubicBezTo>
                  <a:pt x="-6" y="1095857"/>
                  <a:pt x="12656" y="1063511"/>
                  <a:pt x="35458" y="1038860"/>
                </a:cubicBezTo>
                <a:cubicBezTo>
                  <a:pt x="42190" y="1031621"/>
                  <a:pt x="48159" y="1024128"/>
                  <a:pt x="55017" y="1016635"/>
                </a:cubicBezTo>
                <a:cubicBezTo>
                  <a:pt x="80417" y="987298"/>
                  <a:pt x="103912" y="956310"/>
                  <a:pt x="126137" y="927735"/>
                </a:cubicBezTo>
                <a:cubicBezTo>
                  <a:pt x="135662" y="915035"/>
                  <a:pt x="145187" y="902335"/>
                  <a:pt x="154458" y="890397"/>
                </a:cubicBezTo>
                <a:cubicBezTo>
                  <a:pt x="163675" y="877426"/>
                  <a:pt x="171790" y="863704"/>
                  <a:pt x="178715" y="849376"/>
                </a:cubicBezTo>
                <a:cubicBezTo>
                  <a:pt x="194336" y="819150"/>
                  <a:pt x="206528" y="794639"/>
                  <a:pt x="216815" y="772033"/>
                </a:cubicBezTo>
                <a:cubicBezTo>
                  <a:pt x="227102" y="749427"/>
                  <a:pt x="236246" y="727964"/>
                  <a:pt x="243739" y="708533"/>
                </a:cubicBezTo>
                <a:cubicBezTo>
                  <a:pt x="251232" y="689102"/>
                  <a:pt x="257455" y="668274"/>
                  <a:pt x="262662" y="648716"/>
                </a:cubicBezTo>
                <a:cubicBezTo>
                  <a:pt x="267869" y="629158"/>
                  <a:pt x="272822" y="606171"/>
                  <a:pt x="277013" y="581406"/>
                </a:cubicBezTo>
                <a:cubicBezTo>
                  <a:pt x="281204" y="556641"/>
                  <a:pt x="284887" y="529717"/>
                  <a:pt x="288570" y="496697"/>
                </a:cubicBezTo>
                <a:cubicBezTo>
                  <a:pt x="292253" y="463677"/>
                  <a:pt x="295301" y="428879"/>
                  <a:pt x="298349" y="387477"/>
                </a:cubicBezTo>
                <a:lnTo>
                  <a:pt x="299111" y="377317"/>
                </a:lnTo>
                <a:cubicBezTo>
                  <a:pt x="302540" y="332994"/>
                  <a:pt x="305715" y="291211"/>
                  <a:pt x="307620" y="249174"/>
                </a:cubicBezTo>
                <a:lnTo>
                  <a:pt x="313589" y="127000"/>
                </a:lnTo>
                <a:cubicBezTo>
                  <a:pt x="316915" y="55864"/>
                  <a:pt x="375598" y="-78"/>
                  <a:pt x="446812" y="0"/>
                </a:cubicBezTo>
                <a:lnTo>
                  <a:pt x="6126760" y="0"/>
                </a:lnTo>
                <a:cubicBezTo>
                  <a:pt x="6200407" y="0"/>
                  <a:pt x="6260110" y="59703"/>
                  <a:pt x="6260110" y="133350"/>
                </a:cubicBezTo>
                <a:cubicBezTo>
                  <a:pt x="6260110" y="206997"/>
                  <a:pt x="6200407" y="266700"/>
                  <a:pt x="6126760" y="266700"/>
                </a:cubicBezTo>
                <a:lnTo>
                  <a:pt x="573939" y="266700"/>
                </a:lnTo>
                <a:cubicBezTo>
                  <a:pt x="571780" y="310769"/>
                  <a:pt x="568478" y="354711"/>
                  <a:pt x="565176" y="397383"/>
                </a:cubicBezTo>
                <a:lnTo>
                  <a:pt x="564414" y="407416"/>
                </a:lnTo>
                <a:cubicBezTo>
                  <a:pt x="561112" y="451612"/>
                  <a:pt x="557683" y="490220"/>
                  <a:pt x="553873" y="525526"/>
                </a:cubicBezTo>
                <a:cubicBezTo>
                  <a:pt x="549555" y="564261"/>
                  <a:pt x="545237" y="596138"/>
                  <a:pt x="540030" y="626237"/>
                </a:cubicBezTo>
                <a:cubicBezTo>
                  <a:pt x="534442" y="659257"/>
                  <a:pt x="528092" y="688721"/>
                  <a:pt x="520599" y="716788"/>
                </a:cubicBezTo>
                <a:cubicBezTo>
                  <a:pt x="513106" y="744855"/>
                  <a:pt x="504470" y="772541"/>
                  <a:pt x="493929" y="800989"/>
                </a:cubicBezTo>
                <a:cubicBezTo>
                  <a:pt x="483388" y="829437"/>
                  <a:pt x="472593" y="854837"/>
                  <a:pt x="459131" y="884301"/>
                </a:cubicBezTo>
                <a:cubicBezTo>
                  <a:pt x="446431" y="910717"/>
                  <a:pt x="433096" y="938530"/>
                  <a:pt x="415697" y="972058"/>
                </a:cubicBezTo>
                <a:cubicBezTo>
                  <a:pt x="402138" y="999450"/>
                  <a:pt x="386246" y="1025624"/>
                  <a:pt x="368198" y="1050290"/>
                </a:cubicBezTo>
                <a:cubicBezTo>
                  <a:pt x="358420" y="1062990"/>
                  <a:pt x="348260" y="1076833"/>
                  <a:pt x="337846" y="1090295"/>
                </a:cubicBezTo>
                <a:cubicBezTo>
                  <a:pt x="313589" y="1122045"/>
                  <a:pt x="287046" y="1156081"/>
                  <a:pt x="258217" y="1190117"/>
                </a:cubicBezTo>
                <a:cubicBezTo>
                  <a:pt x="249327" y="1200658"/>
                  <a:pt x="240310" y="1210818"/>
                  <a:pt x="231166" y="1220724"/>
                </a:cubicBezTo>
                <a:cubicBezTo>
                  <a:pt x="205862" y="1247767"/>
                  <a:pt x="170410" y="1263007"/>
                  <a:pt x="133376" y="1262761"/>
                </a:cubicBezTo>
                <a:close/>
              </a:path>
            </a:pathLst>
          </a:custGeom>
          <a:solidFill>
            <a:srgbClr val="FFFFFF"/>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DE123E-D31C-47E2-B6A2-E845018881F6}"/>
              </a:ext>
            </a:extLst>
          </p:cNvPr>
          <p:cNvSpPr/>
          <p:nvPr userDrawn="1"/>
        </p:nvSpPr>
        <p:spPr>
          <a:xfrm>
            <a:off x="0" y="6632027"/>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7DD3772-4C5E-4589-849B-676727EF93D3}"/>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4D6F7B-84CF-4FD4-8E0D-D783C92E5AA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6098140E-9523-4D50-A767-DFEABC069AA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EB210967-FC0C-484A-B475-EE3D190F0D4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0801025-63AB-49AD-B7C3-D54BC5762BF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A387142-1CBE-479E-A4CD-E1AE75FC57D3}"/>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91A3FA16-8969-49BA-B400-AFCF765C7CE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64AE879F-0775-43FE-BD16-BAE89045536C}"/>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1EB5652B-F1E2-42E9-8A1A-CD2E973C3920}"/>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B1B1D95B-8EC7-4608-A0AB-AD3EE133148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7DA7A5E-2079-43DB-BC49-9D77FBA5F938}"/>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29253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0455E612-50B1-4F98-B135-B53AABD3FE47}"/>
              </a:ext>
            </a:extLst>
          </p:cNvPr>
          <p:cNvSpPr>
            <a:spLocks noGrp="1" noChangeAspect="1"/>
          </p:cNvSpPr>
          <p:nvPr>
            <p:ph type="body" sz="quarter" idx="12" hasCustomPrompt="1"/>
          </p:nvPr>
        </p:nvSpPr>
        <p:spPr>
          <a:xfrm>
            <a:off x="719137" y="719139"/>
            <a:ext cx="1821600" cy="32176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6352425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bg1"/>
          </a:solidFill>
        </p:spPr>
        <p:txBody>
          <a:bodyPr wrap="none" tIns="36000" rIns="72000" bIns="36000" anchor="ctr" anchorCtr="0">
            <a:spAutoFit/>
          </a:bodyPr>
          <a:lstStyle>
            <a:lvl1pPr marL="0">
              <a:defRPr sz="1600" i="1">
                <a:solidFill>
                  <a:schemeClr val="tx2"/>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dirty="0"/>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bg1"/>
                </a:solidFill>
                <a:latin typeface="+mn-lt"/>
              </a:defRPr>
            </a:lvl1pPr>
            <a:lvl2pPr marL="0" indent="0" algn="l">
              <a:lnSpc>
                <a:spcPct val="100000"/>
              </a:lnSpc>
              <a:spcBef>
                <a:spcPts val="600"/>
              </a:spcBef>
              <a:buNone/>
              <a:defRPr sz="1800">
                <a:solidFill>
                  <a:schemeClr val="bg1"/>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US"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solidFill>
                  <a:schemeClr val="bg1"/>
                </a:solidFill>
              </a:defRPr>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5885A642-AA04-4403-8AB3-F62F31CB2D44}"/>
              </a:ext>
            </a:extLst>
          </p:cNvPr>
          <p:cNvSpPr>
            <a:spLocks noGrp="1"/>
          </p:cNvSpPr>
          <p:nvPr>
            <p:ph type="body" sz="quarter" idx="12" hasCustomPrompt="1"/>
          </p:nvPr>
        </p:nvSpPr>
        <p:spPr>
          <a:xfrm>
            <a:off x="719137" y="719139"/>
            <a:ext cx="1821600" cy="32040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9500076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rge Messag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C90AD-ACAB-4330-BD3E-4036A2058A52}"/>
              </a:ext>
            </a:extLst>
          </p:cNvPr>
          <p:cNvSpPr>
            <a:spLocks noGrp="1"/>
          </p:cNvSpPr>
          <p:nvPr>
            <p:ph type="title"/>
          </p:nvPr>
        </p:nvSpPr>
        <p:spPr>
          <a:xfrm>
            <a:off x="719137" y="1260000"/>
            <a:ext cx="10752138" cy="4877275"/>
          </a:xfrm>
        </p:spPr>
        <p:txBody>
          <a:bodyPr/>
          <a:lstStyle>
            <a:lvl1pPr>
              <a:defRPr sz="7200"/>
            </a:lvl1pPr>
            <a:lvl2pPr>
              <a:defRPr sz="7200"/>
            </a:lvl2pPr>
            <a:lvl3pPr>
              <a:defRPr sz="13800"/>
            </a:lvl3pPr>
            <a:lvl4pPr>
              <a:defRPr sz="13800"/>
            </a:lvl4pPr>
            <a:lvl5pPr>
              <a:defRPr sz="9600"/>
            </a:lvl5pPr>
            <a:lvl6pPr>
              <a:defRPr sz="9600"/>
            </a:lvl6pPr>
            <a:lvl7pPr>
              <a:defRPr sz="11500"/>
            </a:lvl7pPr>
            <a:lvl8pPr>
              <a:defRPr sz="11500"/>
            </a:lvl8pPr>
            <a:lvl9pPr>
              <a:defRPr sz="9600"/>
            </a:lvl9pPr>
          </a:lstStyle>
          <a:p>
            <a:pPr lvl="0"/>
            <a:r>
              <a:rPr lang="en-US"/>
              <a:t>Click to edit Master title style</a:t>
            </a:r>
            <a:endParaRPr lang="en-GB" dirty="0"/>
          </a:p>
        </p:txBody>
      </p:sp>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spTree>
    <p:extLst>
      <p:ext uri="{BB962C8B-B14F-4D97-AF65-F5344CB8AC3E}">
        <p14:creationId xmlns:p14="http://schemas.microsoft.com/office/powerpoint/2010/main" val="7792881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5892826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One firm. Your firm.">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718571"/>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2561771"/>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Tree>
    <p:extLst>
      <p:ext uri="{BB962C8B-B14F-4D97-AF65-F5344CB8AC3E}">
        <p14:creationId xmlns:p14="http://schemas.microsoft.com/office/powerpoint/2010/main" val="322837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799990"/>
            <a:ext cx="6005888" cy="3976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16" name="Text Placeholder 1">
            <a:extLst>
              <a:ext uri="{FF2B5EF4-FFF2-40B4-BE49-F238E27FC236}">
                <a16:creationId xmlns:a16="http://schemas.microsoft.com/office/drawing/2014/main" id="{95D91B36-D041-4B27-916C-CC12250E85AE}"/>
              </a:ext>
            </a:extLst>
          </p:cNvPr>
          <p:cNvSpPr>
            <a:spLocks noGrp="1"/>
          </p:cNvSpPr>
          <p:nvPr>
            <p:ph type="body" sz="quarter" idx="12"/>
          </p:nvPr>
        </p:nvSpPr>
        <p:spPr>
          <a:xfrm>
            <a:off x="719139" y="2060197"/>
            <a:ext cx="4554536" cy="3455231"/>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4990686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5" y="1799991"/>
            <a:ext cx="6005887" cy="371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21" name="Text Placeholder 1">
            <a:extLst>
              <a:ext uri="{FF2B5EF4-FFF2-40B4-BE49-F238E27FC236}">
                <a16:creationId xmlns:a16="http://schemas.microsoft.com/office/drawing/2014/main" id="{D0BCB2A8-A2F1-424B-ACCE-1CDDC0263C06}"/>
              </a:ext>
            </a:extLst>
          </p:cNvPr>
          <p:cNvSpPr>
            <a:spLocks noGrp="1"/>
          </p:cNvSpPr>
          <p:nvPr>
            <p:ph type="body" sz="quarter" idx="12"/>
          </p:nvPr>
        </p:nvSpPr>
        <p:spPr>
          <a:xfrm>
            <a:off x="719139" y="2060197"/>
            <a:ext cx="4554536" cy="3199959"/>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8396143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6"/>
        </a:solidFill>
        <a:effectLst/>
      </p:bgPr>
    </p:bg>
    <p:spTree>
      <p:nvGrpSpPr>
        <p:cNvPr id="1" name=""/>
        <p:cNvGrpSpPr/>
        <p:nvPr/>
      </p:nvGrpSpPr>
      <p:grpSpPr>
        <a:xfrm>
          <a:off x="0" y="0"/>
          <a:ext cx="0" cy="0"/>
          <a:chOff x="0" y="0"/>
          <a:chExt cx="0" cy="0"/>
        </a:xfrm>
      </p:grpSpPr>
      <p:grpSp>
        <p:nvGrpSpPr>
          <p:cNvPr id="9" name="Contents background 1">
            <a:extLst>
              <a:ext uri="{FF2B5EF4-FFF2-40B4-BE49-F238E27FC236}">
                <a16:creationId xmlns:a16="http://schemas.microsoft.com/office/drawing/2014/main" id="{0C87C233-C237-4006-8319-D5D35F7B4203}"/>
              </a:ext>
            </a:extLst>
          </p:cNvPr>
          <p:cNvGrpSpPr>
            <a:grpSpLocks noChangeAspect="1"/>
          </p:cNvGrpSpPr>
          <p:nvPr userDrawn="1"/>
        </p:nvGrpSpPr>
        <p:grpSpPr>
          <a:xfrm>
            <a:off x="0" y="0"/>
            <a:ext cx="12192000" cy="6857146"/>
            <a:chOff x="0" y="0"/>
            <a:chExt cx="1920239" cy="1080000"/>
          </a:xfrm>
        </p:grpSpPr>
        <p:sp>
          <p:nvSpPr>
            <p:cNvPr id="10" name="Freeform: Shape 9">
              <a:extLst>
                <a:ext uri="{FF2B5EF4-FFF2-40B4-BE49-F238E27FC236}">
                  <a16:creationId xmlns:a16="http://schemas.microsoft.com/office/drawing/2014/main" id="{0703F501-5AF0-4B2D-B2B2-F826C468E6DA}"/>
                </a:ext>
              </a:extLst>
            </p:cNvPr>
            <p:cNvSpPr/>
            <p:nvPr/>
          </p:nvSpPr>
          <p:spPr>
            <a:xfrm>
              <a:off x="0" y="0"/>
              <a:ext cx="1920180" cy="1080000"/>
            </a:xfrm>
            <a:custGeom>
              <a:avLst/>
              <a:gdLst>
                <a:gd name="connsiteX0" fmla="*/ 0 w 1920180"/>
                <a:gd name="connsiteY0" fmla="*/ 0 h 1080000"/>
                <a:gd name="connsiteX1" fmla="*/ 1920180 w 1920180"/>
                <a:gd name="connsiteY1" fmla="*/ 0 h 1080000"/>
                <a:gd name="connsiteX2" fmla="*/ 1920180 w 1920180"/>
                <a:gd name="connsiteY2" fmla="*/ 1080000 h 1080000"/>
                <a:gd name="connsiteX3" fmla="*/ 0 w 1920180"/>
                <a:gd name="connsiteY3" fmla="*/ 1080000 h 1080000"/>
              </a:gdLst>
              <a:ahLst/>
              <a:cxnLst>
                <a:cxn ang="0">
                  <a:pos x="connsiteX0" y="connsiteY0"/>
                </a:cxn>
                <a:cxn ang="0">
                  <a:pos x="connsiteX1" y="connsiteY1"/>
                </a:cxn>
                <a:cxn ang="0">
                  <a:pos x="connsiteX2" y="connsiteY2"/>
                </a:cxn>
                <a:cxn ang="0">
                  <a:pos x="connsiteX3" y="connsiteY3"/>
                </a:cxn>
              </a:cxnLst>
              <a:rect l="l" t="t" r="r" b="b"/>
              <a:pathLst>
                <a:path w="1920180" h="1080000">
                  <a:moveTo>
                    <a:pt x="0" y="0"/>
                  </a:moveTo>
                  <a:lnTo>
                    <a:pt x="1920180" y="0"/>
                  </a:lnTo>
                  <a:lnTo>
                    <a:pt x="1920180" y="1080000"/>
                  </a:lnTo>
                  <a:lnTo>
                    <a:pt x="0" y="1080000"/>
                  </a:lnTo>
                  <a:close/>
                </a:path>
              </a:pathLst>
            </a:custGeom>
            <a:noFill/>
            <a:ln w="1994"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D033030A-45C7-4EF2-9605-B4AF1559BEB1}"/>
                </a:ext>
              </a:extLst>
            </p:cNvPr>
            <p:cNvSpPr/>
            <p:nvPr/>
          </p:nvSpPr>
          <p:spPr>
            <a:xfrm>
              <a:off x="1790334" y="318201"/>
              <a:ext cx="129905" cy="59013"/>
            </a:xfrm>
            <a:custGeom>
              <a:avLst/>
              <a:gdLst>
                <a:gd name="connsiteX0" fmla="*/ 23505 w 129905"/>
                <a:gd name="connsiteY0" fmla="*/ 5798 h 59013"/>
                <a:gd name="connsiteX1" fmla="*/ 195 w 129905"/>
                <a:gd name="connsiteY1" fmla="*/ 35508 h 59013"/>
                <a:gd name="connsiteX2" fmla="*/ 29905 w 129905"/>
                <a:gd name="connsiteY2" fmla="*/ 58818 h 59013"/>
                <a:gd name="connsiteX3" fmla="*/ 129905 w 129905"/>
                <a:gd name="connsiteY3" fmla="*/ 53458 h 59013"/>
                <a:gd name="connsiteX4" fmla="*/ 129905 w 129905"/>
                <a:gd name="connsiteY4" fmla="*/ 78 h 59013"/>
                <a:gd name="connsiteX5" fmla="*/ 23505 w 129905"/>
                <a:gd name="connsiteY5" fmla="*/ 5798 h 59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905" h="59013">
                  <a:moveTo>
                    <a:pt x="23505" y="5798"/>
                  </a:moveTo>
                  <a:cubicBezTo>
                    <a:pt x="8864" y="7566"/>
                    <a:pt x="-1572" y="20867"/>
                    <a:pt x="195" y="35508"/>
                  </a:cubicBezTo>
                  <a:cubicBezTo>
                    <a:pt x="1962" y="50150"/>
                    <a:pt x="15264" y="60586"/>
                    <a:pt x="29905" y="58818"/>
                  </a:cubicBezTo>
                  <a:cubicBezTo>
                    <a:pt x="63079" y="54775"/>
                    <a:pt x="96489" y="52984"/>
                    <a:pt x="129905" y="53458"/>
                  </a:cubicBezTo>
                  <a:lnTo>
                    <a:pt x="129905" y="78"/>
                  </a:lnTo>
                  <a:cubicBezTo>
                    <a:pt x="94350" y="-424"/>
                    <a:pt x="58802" y="1487"/>
                    <a:pt x="23505" y="5798"/>
                  </a:cubicBezTo>
                  <a:close/>
                </a:path>
              </a:pathLst>
            </a:custGeom>
            <a:solidFill>
              <a:schemeClr val="accent5"/>
            </a:solidFill>
            <a:ln w="1994"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47BE42B7-1ECD-4ABD-A4C7-3E7200B5835D}"/>
                </a:ext>
              </a:extLst>
            </p:cNvPr>
            <p:cNvSpPr/>
            <p:nvPr/>
          </p:nvSpPr>
          <p:spPr>
            <a:xfrm>
              <a:off x="591719" y="324482"/>
              <a:ext cx="1245349" cy="755517"/>
            </a:xfrm>
            <a:custGeom>
              <a:avLst/>
              <a:gdLst>
                <a:gd name="connsiteX0" fmla="*/ 253400 w 1245349"/>
                <a:gd name="connsiteY0" fmla="*/ 538718 h 755517"/>
                <a:gd name="connsiteX1" fmla="*/ 595400 w 1245349"/>
                <a:gd name="connsiteY1" fmla="*/ 654618 h 755517"/>
                <a:gd name="connsiteX2" fmla="*/ 633001 w 1245349"/>
                <a:gd name="connsiteY2" fmla="*/ 658072 h 755517"/>
                <a:gd name="connsiteX3" fmla="*/ 642280 w 1245349"/>
                <a:gd name="connsiteY3" fmla="*/ 641838 h 755517"/>
                <a:gd name="connsiteX4" fmla="*/ 742740 w 1245349"/>
                <a:gd name="connsiteY4" fmla="*/ 376418 h 755517"/>
                <a:gd name="connsiteX5" fmla="*/ 1187780 w 1245349"/>
                <a:gd name="connsiteY5" fmla="*/ 58078 h 755517"/>
                <a:gd name="connsiteX6" fmla="*/ 1221220 w 1245349"/>
                <a:gd name="connsiteY6" fmla="*/ 53278 h 755517"/>
                <a:gd name="connsiteX7" fmla="*/ 1245224 w 1245349"/>
                <a:gd name="connsiteY7" fmla="*/ 24130 h 755517"/>
                <a:gd name="connsiteX8" fmla="*/ 1216076 w 1245349"/>
                <a:gd name="connsiteY8" fmla="*/ 126 h 755517"/>
                <a:gd name="connsiteX9" fmla="*/ 1214820 w 1245349"/>
                <a:gd name="connsiteY9" fmla="*/ 278 h 755517"/>
                <a:gd name="connsiteX10" fmla="*/ 1179060 w 1245349"/>
                <a:gd name="connsiteY10" fmla="*/ 5398 h 755517"/>
                <a:gd name="connsiteX11" fmla="*/ 874540 w 1245349"/>
                <a:gd name="connsiteY11" fmla="*/ 139238 h 755517"/>
                <a:gd name="connsiteX12" fmla="*/ 695620 w 1245349"/>
                <a:gd name="connsiteY12" fmla="*/ 351238 h 755517"/>
                <a:gd name="connsiteX13" fmla="*/ 600980 w 1245349"/>
                <a:gd name="connsiteY13" fmla="*/ 581978 h 755517"/>
                <a:gd name="connsiteX14" fmla="*/ 439980 w 1245349"/>
                <a:gd name="connsiteY14" fmla="*/ 485078 h 755517"/>
                <a:gd name="connsiteX15" fmla="*/ 236980 w 1245349"/>
                <a:gd name="connsiteY15" fmla="*/ 487918 h 755517"/>
                <a:gd name="connsiteX16" fmla="*/ 71340 w 1245349"/>
                <a:gd name="connsiteY16" fmla="*/ 601258 h 755517"/>
                <a:gd name="connsiteX17" fmla="*/ 0 w 1245349"/>
                <a:gd name="connsiteY17" fmla="*/ 755518 h 755517"/>
                <a:gd name="connsiteX18" fmla="*/ 54500 w 1245349"/>
                <a:gd name="connsiteY18" fmla="*/ 755518 h 755517"/>
                <a:gd name="connsiteX19" fmla="*/ 253400 w 1245349"/>
                <a:gd name="connsiteY19" fmla="*/ 538718 h 755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45349" h="755517">
                  <a:moveTo>
                    <a:pt x="253400" y="538718"/>
                  </a:moveTo>
                  <a:cubicBezTo>
                    <a:pt x="376200" y="498718"/>
                    <a:pt x="500820" y="541058"/>
                    <a:pt x="595400" y="654618"/>
                  </a:cubicBezTo>
                  <a:cubicBezTo>
                    <a:pt x="604830" y="665955"/>
                    <a:pt x="621664" y="667501"/>
                    <a:pt x="633001" y="658072"/>
                  </a:cubicBezTo>
                  <a:cubicBezTo>
                    <a:pt x="637950" y="653956"/>
                    <a:pt x="641245" y="648191"/>
                    <a:pt x="642280" y="641838"/>
                  </a:cubicBezTo>
                  <a:cubicBezTo>
                    <a:pt x="642480" y="640558"/>
                    <a:pt x="664100" y="512158"/>
                    <a:pt x="742740" y="376418"/>
                  </a:cubicBezTo>
                  <a:cubicBezTo>
                    <a:pt x="846740" y="196858"/>
                    <a:pt x="996520" y="89738"/>
                    <a:pt x="1187780" y="58078"/>
                  </a:cubicBezTo>
                  <a:cubicBezTo>
                    <a:pt x="1198920" y="56238"/>
                    <a:pt x="1210160" y="54618"/>
                    <a:pt x="1221220" y="53278"/>
                  </a:cubicBezTo>
                  <a:cubicBezTo>
                    <a:pt x="1235897" y="51857"/>
                    <a:pt x="1246644" y="38807"/>
                    <a:pt x="1245224" y="24130"/>
                  </a:cubicBezTo>
                  <a:cubicBezTo>
                    <a:pt x="1243803" y="9452"/>
                    <a:pt x="1230753" y="-1294"/>
                    <a:pt x="1216076" y="126"/>
                  </a:cubicBezTo>
                  <a:cubicBezTo>
                    <a:pt x="1215656" y="167"/>
                    <a:pt x="1215237" y="217"/>
                    <a:pt x="1214820" y="278"/>
                  </a:cubicBezTo>
                  <a:cubicBezTo>
                    <a:pt x="1203000" y="1698"/>
                    <a:pt x="1190960" y="3418"/>
                    <a:pt x="1179060" y="5398"/>
                  </a:cubicBezTo>
                  <a:cubicBezTo>
                    <a:pt x="1064460" y="24358"/>
                    <a:pt x="962000" y="69398"/>
                    <a:pt x="874540" y="139238"/>
                  </a:cubicBezTo>
                  <a:cubicBezTo>
                    <a:pt x="804840" y="194878"/>
                    <a:pt x="744540" y="266218"/>
                    <a:pt x="695620" y="351238"/>
                  </a:cubicBezTo>
                  <a:cubicBezTo>
                    <a:pt x="654116" y="423680"/>
                    <a:pt x="622297" y="501256"/>
                    <a:pt x="600980" y="581978"/>
                  </a:cubicBezTo>
                  <a:cubicBezTo>
                    <a:pt x="552840" y="535038"/>
                    <a:pt x="498860" y="502518"/>
                    <a:pt x="439980" y="485078"/>
                  </a:cubicBezTo>
                  <a:cubicBezTo>
                    <a:pt x="373597" y="465376"/>
                    <a:pt x="302786" y="466366"/>
                    <a:pt x="236980" y="487918"/>
                  </a:cubicBezTo>
                  <a:cubicBezTo>
                    <a:pt x="172016" y="508982"/>
                    <a:pt x="114504" y="548334"/>
                    <a:pt x="71340" y="601258"/>
                  </a:cubicBezTo>
                  <a:cubicBezTo>
                    <a:pt x="34706" y="645698"/>
                    <a:pt x="10137" y="698824"/>
                    <a:pt x="0" y="755518"/>
                  </a:cubicBezTo>
                  <a:lnTo>
                    <a:pt x="54500" y="755518"/>
                  </a:lnTo>
                  <a:cubicBezTo>
                    <a:pt x="75900" y="656158"/>
                    <a:pt x="151880" y="571698"/>
                    <a:pt x="253400" y="538718"/>
                  </a:cubicBezTo>
                  <a:close/>
                </a:path>
              </a:pathLst>
            </a:custGeom>
            <a:solidFill>
              <a:schemeClr val="tx2"/>
            </a:solidFill>
            <a:ln w="1994" cap="flat">
              <a:noFill/>
              <a:prstDash val="solid"/>
              <a:miter/>
            </a:ln>
          </p:spPr>
          <p:txBody>
            <a:bodyPr rtlCol="0" anchor="ctr"/>
            <a:lstStyle/>
            <a:p>
              <a:endParaRPr lang="en-GB" dirty="0"/>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24 October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Testing footer2</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
        <p:nvSpPr>
          <p:cNvPr id="18" name="Rectangle">
            <a:extLst>
              <a:ext uri="{FF2B5EF4-FFF2-40B4-BE49-F238E27FC236}">
                <a16:creationId xmlns:a16="http://schemas.microsoft.com/office/drawing/2014/main" id="{21C6EBF0-A7A4-413E-A7FD-E4F028820495}"/>
              </a:ext>
            </a:extLst>
          </p:cNvPr>
          <p:cNvSpPr/>
          <p:nvPr userDrawn="1"/>
        </p:nvSpPr>
        <p:spPr>
          <a:xfrm>
            <a:off x="-374" y="1605320"/>
            <a:ext cx="7003602" cy="4022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graphicFrame>
        <p:nvGraphicFramePr>
          <p:cNvPr id="17" name="TOCTable" hidden="1">
            <a:extLst>
              <a:ext uri="{FF2B5EF4-FFF2-40B4-BE49-F238E27FC236}">
                <a16:creationId xmlns:a16="http://schemas.microsoft.com/office/drawing/2014/main" id="{3433996D-9DBF-4897-BF4F-CD9B1AFE9DB8}"/>
              </a:ext>
            </a:extLst>
          </p:cNvPr>
          <p:cNvGraphicFramePr>
            <a:graphicFrameLocks/>
          </p:cNvGraphicFramePr>
          <p:nvPr userDrawn="1">
            <p:extLst>
              <p:ext uri="{D42A27DB-BD31-4B8C-83A1-F6EECF244321}">
                <p14:modId xmlns:p14="http://schemas.microsoft.com/office/powerpoint/2010/main" val="3892057374"/>
              </p:ext>
            </p:extLst>
          </p:nvPr>
        </p:nvGraphicFramePr>
        <p:xfrm>
          <a:off x="724372" y="1692275"/>
          <a:ext cx="6139008" cy="3775248"/>
        </p:xfrm>
        <a:graphic>
          <a:graphicData uri="http://schemas.openxmlformats.org/drawingml/2006/table">
            <a:tbl>
              <a:tblPr bandRow="1">
                <a:tableStyleId>{2D5ABB26-0587-4C30-8999-92F81FD0307C}</a:tableStyleId>
              </a:tblPr>
              <a:tblGrid>
                <a:gridCol w="706395">
                  <a:extLst>
                    <a:ext uri="{9D8B030D-6E8A-4147-A177-3AD203B41FA5}">
                      <a16:colId xmlns:a16="http://schemas.microsoft.com/office/drawing/2014/main" val="623472955"/>
                    </a:ext>
                  </a:extLst>
                </a:gridCol>
                <a:gridCol w="4892920">
                  <a:extLst>
                    <a:ext uri="{9D8B030D-6E8A-4147-A177-3AD203B41FA5}">
                      <a16:colId xmlns:a16="http://schemas.microsoft.com/office/drawing/2014/main" val="3016899469"/>
                    </a:ext>
                  </a:extLst>
                </a:gridCol>
                <a:gridCol w="539693">
                  <a:extLst>
                    <a:ext uri="{9D8B030D-6E8A-4147-A177-3AD203B41FA5}">
                      <a16:colId xmlns:a16="http://schemas.microsoft.com/office/drawing/2014/main" val="4199035927"/>
                    </a:ext>
                  </a:extLst>
                </a:gridCol>
              </a:tblGrid>
              <a:tr h="370840">
                <a:tc>
                  <a:txBody>
                    <a:bodyPr/>
                    <a:lstStyle/>
                    <a:p>
                      <a:pPr algn="l"/>
                      <a:r>
                        <a:rPr lang="en-GB" sz="2400" b="0" baseline="0" dirty="0">
                          <a:solidFill>
                            <a:schemeClr val="tx1"/>
                          </a:solidFill>
                          <a:latin typeface="+mj-lt"/>
                        </a:rPr>
                        <a:t>01</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rst item</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912683"/>
                  </a:ext>
                </a:extLst>
              </a:tr>
              <a:tr h="370840">
                <a:tc>
                  <a:txBody>
                    <a:bodyPr/>
                    <a:lstStyle/>
                    <a:p>
                      <a:pPr algn="l"/>
                      <a:r>
                        <a:rPr lang="en-GB" sz="2400" b="0" baseline="0" dirty="0">
                          <a:solidFill>
                            <a:schemeClr val="tx1"/>
                          </a:solidFill>
                          <a:latin typeface="+mj-lt"/>
                        </a:rPr>
                        <a:t>02</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con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655236"/>
                  </a:ext>
                </a:extLst>
              </a:tr>
              <a:tr h="370840">
                <a:tc>
                  <a:txBody>
                    <a:bodyPr/>
                    <a:lstStyle/>
                    <a:p>
                      <a:pPr algn="l"/>
                      <a:r>
                        <a:rPr lang="en-GB" sz="2400" b="0" baseline="0" dirty="0">
                          <a:solidFill>
                            <a:schemeClr val="tx1"/>
                          </a:solidFill>
                          <a:latin typeface="+mj-lt"/>
                          <a:cs typeface="Arial" panose="020B0604020202020204" pitchFamily="34" charset="0"/>
                        </a:rPr>
                        <a:t>03</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thir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243760"/>
                  </a:ext>
                </a:extLst>
              </a:tr>
              <a:tr h="370840">
                <a:tc>
                  <a:txBody>
                    <a:bodyPr/>
                    <a:lstStyle/>
                    <a:p>
                      <a:pPr algn="l"/>
                      <a:r>
                        <a:rPr lang="en-GB" sz="2400" b="0" baseline="0" dirty="0">
                          <a:solidFill>
                            <a:schemeClr val="tx1"/>
                          </a:solidFill>
                          <a:latin typeface="+mj-lt"/>
                          <a:cs typeface="Arial" panose="020B0604020202020204" pitchFamily="34" charset="0"/>
                        </a:rPr>
                        <a:t>04</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our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4242470"/>
                  </a:ext>
                </a:extLst>
              </a:tr>
              <a:tr h="370840">
                <a:tc>
                  <a:txBody>
                    <a:bodyPr/>
                    <a:lstStyle/>
                    <a:p>
                      <a:pPr algn="l"/>
                      <a:r>
                        <a:rPr lang="en-GB" sz="2400" b="0" baseline="0" dirty="0">
                          <a:solidFill>
                            <a:schemeClr val="tx1"/>
                          </a:solidFill>
                          <a:latin typeface="+mj-lt"/>
                          <a:cs typeface="Arial" panose="020B0604020202020204" pitchFamily="34" charset="0"/>
                        </a:rPr>
                        <a:t>05</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f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255728"/>
                  </a:ext>
                </a:extLst>
              </a:tr>
              <a:tr h="370840">
                <a:tc>
                  <a:txBody>
                    <a:bodyPr/>
                    <a:lstStyle/>
                    <a:p>
                      <a:pPr algn="l"/>
                      <a:r>
                        <a:rPr lang="en-GB" sz="2400" b="0" baseline="0" dirty="0">
                          <a:solidFill>
                            <a:schemeClr val="tx1"/>
                          </a:solidFill>
                          <a:latin typeface="+mj-lt"/>
                          <a:cs typeface="Arial" panose="020B0604020202020204" pitchFamily="34" charset="0"/>
                        </a:rPr>
                        <a:t>06</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ix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0849912"/>
                  </a:ext>
                </a:extLst>
              </a:tr>
              <a:tr h="370840">
                <a:tc>
                  <a:txBody>
                    <a:bodyPr/>
                    <a:lstStyle/>
                    <a:p>
                      <a:pPr algn="l"/>
                      <a:r>
                        <a:rPr lang="en-GB" sz="2400" b="0" baseline="0" dirty="0">
                          <a:solidFill>
                            <a:schemeClr val="tx1"/>
                          </a:solidFill>
                          <a:latin typeface="+mj-lt"/>
                          <a:cs typeface="Arial" panose="020B0604020202020204" pitchFamily="34" charset="0"/>
                        </a:rPr>
                        <a:t>07</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ve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721349"/>
                  </a:ext>
                </a:extLst>
              </a:tr>
              <a:tr h="370840">
                <a:tc>
                  <a:txBody>
                    <a:bodyPr/>
                    <a:lstStyle/>
                    <a:p>
                      <a:pPr algn="l"/>
                      <a:r>
                        <a:rPr lang="en-GB" sz="2400" b="0" baseline="0" dirty="0">
                          <a:solidFill>
                            <a:schemeClr val="tx1"/>
                          </a:solidFill>
                          <a:latin typeface="+mj-lt"/>
                          <a:cs typeface="Arial" panose="020B0604020202020204" pitchFamily="34" charset="0"/>
                        </a:rPr>
                        <a:t>08</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eigh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232822"/>
                  </a:ext>
                </a:extLst>
              </a:tr>
              <a:tr h="370840">
                <a:tc>
                  <a:txBody>
                    <a:bodyPr/>
                    <a:lstStyle/>
                    <a:p>
                      <a:pPr algn="l"/>
                      <a:r>
                        <a:rPr lang="en-GB" sz="2400" b="0" baseline="0" dirty="0">
                          <a:solidFill>
                            <a:schemeClr val="tx1"/>
                          </a:solidFill>
                          <a:latin typeface="+mj-lt"/>
                          <a:cs typeface="Arial" panose="020B0604020202020204" pitchFamily="34" charset="0"/>
                        </a:rPr>
                        <a:t>09</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ni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438890"/>
                  </a:ext>
                </a:extLst>
              </a:tr>
            </a:tbl>
          </a:graphicData>
        </a:graphic>
      </p:graphicFrame>
    </p:spTree>
    <p:extLst>
      <p:ext uri="{BB962C8B-B14F-4D97-AF65-F5344CB8AC3E}">
        <p14:creationId xmlns:p14="http://schemas.microsoft.com/office/powerpoint/2010/main" val="29556154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accent1"/>
        </a:solidFill>
        <a:effectLst/>
      </p:bgPr>
    </p:bg>
    <p:spTree>
      <p:nvGrpSpPr>
        <p:cNvPr id="1" name=""/>
        <p:cNvGrpSpPr/>
        <p:nvPr/>
      </p:nvGrpSpPr>
      <p:grpSpPr>
        <a:xfrm>
          <a:off x="0" y="0"/>
          <a:ext cx="0" cy="0"/>
          <a:chOff x="0" y="0"/>
          <a:chExt cx="0" cy="0"/>
        </a:xfrm>
      </p:grpSpPr>
      <p:sp>
        <p:nvSpPr>
          <p:cNvPr id="3" name="Company string">
            <a:extLst>
              <a:ext uri="{FF2B5EF4-FFF2-40B4-BE49-F238E27FC236}">
                <a16:creationId xmlns:a16="http://schemas.microsoft.com/office/drawing/2014/main" id="{EA41C69A-8F66-4841-BB68-FAF02F0649F5}"/>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u="none">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8" name="Group 17">
            <a:extLst>
              <a:ext uri="{FF2B5EF4-FFF2-40B4-BE49-F238E27FC236}">
                <a16:creationId xmlns:a16="http://schemas.microsoft.com/office/drawing/2014/main" id="{97C84B20-5499-4342-896D-723C87B7442C}"/>
              </a:ext>
            </a:extLst>
          </p:cNvPr>
          <p:cNvGrpSpPr/>
          <p:nvPr userDrawn="1"/>
        </p:nvGrpSpPr>
        <p:grpSpPr>
          <a:xfrm>
            <a:off x="0" y="2161032"/>
            <a:ext cx="6006209" cy="266700"/>
            <a:chOff x="0" y="2161032"/>
            <a:chExt cx="6006209" cy="266700"/>
          </a:xfrm>
        </p:grpSpPr>
        <p:sp>
          <p:nvSpPr>
            <p:cNvPr id="15" name="Freeform: Shape 14">
              <a:extLst>
                <a:ext uri="{FF2B5EF4-FFF2-40B4-BE49-F238E27FC236}">
                  <a16:creationId xmlns:a16="http://schemas.microsoft.com/office/drawing/2014/main" id="{D0CB0E7A-7933-467F-B168-69AEB01ABB2E}"/>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B03A7AE-CEF5-4216-A585-33CCFF6B91E5}"/>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5275912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ackpag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u="none">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5B7F25C4-5391-4351-A592-73666979B8D6}"/>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E4D40EB5-D7EF-4718-87C0-BC012360128F}"/>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5C4EE9B5-8FDD-4C14-8E74-0F02715AE664}"/>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1"/>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905F3556-7389-46ED-AEED-155B03E06C8D}"/>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8074593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ackpage 3">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7BAFEFDD-A1D5-4013-90A4-2006FC450FC1}"/>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1F665660-FED0-4C90-B50D-D1B1550B3901}"/>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F6FE938-8548-4B30-8E6B-1BCF3E2AF45A}"/>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5"/>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E73F8F8D-150C-4348-B806-6A5FA2941AEE}"/>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2324521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1">
    <p:bg>
      <p:bgPr>
        <a:solidFill>
          <a:schemeClr val="accent6"/>
        </a:solidFill>
        <a:effectLst/>
      </p:bgPr>
    </p:bg>
    <p:spTree>
      <p:nvGrpSpPr>
        <p:cNvPr id="1" name=""/>
        <p:cNvGrpSpPr/>
        <p:nvPr/>
      </p:nvGrpSpPr>
      <p:grpSpPr>
        <a:xfrm>
          <a:off x="0" y="0"/>
          <a:ext cx="0" cy="0"/>
          <a:chOff x="0" y="0"/>
          <a:chExt cx="0" cy="0"/>
        </a:xfrm>
      </p:grpSpPr>
      <p:sp>
        <p:nvSpPr>
          <p:cNvPr id="15" name="Company string">
            <a:extLst>
              <a:ext uri="{FF2B5EF4-FFF2-40B4-BE49-F238E27FC236}">
                <a16:creationId xmlns:a16="http://schemas.microsoft.com/office/drawing/2014/main" id="{3475BBE5-5D48-43AA-8A10-5D18E1065391}"/>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7100270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04FC684B-9B4A-4FDA-AD5A-E5DA3CF560DD}"/>
              </a:ext>
            </a:extLst>
          </p:cNvPr>
          <p:cNvGrpSpPr/>
          <p:nvPr userDrawn="1"/>
        </p:nvGrpSpPr>
        <p:grpSpPr>
          <a:xfrm>
            <a:off x="-1143" y="3151164"/>
            <a:ext cx="6006773" cy="266725"/>
            <a:chOff x="-1143" y="3151164"/>
            <a:chExt cx="6006773" cy="266725"/>
          </a:xfrm>
        </p:grpSpPr>
        <p:sp>
          <p:nvSpPr>
            <p:cNvPr id="7" name="Freeform: Shape 6">
              <a:extLst>
                <a:ext uri="{FF2B5EF4-FFF2-40B4-BE49-F238E27FC236}">
                  <a16:creationId xmlns:a16="http://schemas.microsoft.com/office/drawing/2014/main" id="{5D4031D4-7972-416B-9488-E5FD790CDC76}"/>
                </a:ext>
              </a:extLst>
            </p:cNvPr>
            <p:cNvSpPr/>
            <p:nvPr/>
          </p:nvSpPr>
          <p:spPr>
            <a:xfrm>
              <a:off x="2199846" y="3151164"/>
              <a:ext cx="3805784" cy="266725"/>
            </a:xfrm>
            <a:custGeom>
              <a:avLst/>
              <a:gdLst>
                <a:gd name="connsiteX0" fmla="*/ 3672422 w 3805784"/>
                <a:gd name="connsiteY0" fmla="*/ 266725 h 266725"/>
                <a:gd name="connsiteX1" fmla="*/ 133363 w 3805784"/>
                <a:gd name="connsiteY1" fmla="*/ 266725 h 266725"/>
                <a:gd name="connsiteX2" fmla="*/ 0 w 3805784"/>
                <a:gd name="connsiteY2" fmla="*/ 133363 h 266725"/>
                <a:gd name="connsiteX3" fmla="*/ 133363 w 3805784"/>
                <a:gd name="connsiteY3" fmla="*/ 0 h 266725"/>
                <a:gd name="connsiteX4" fmla="*/ 3672422 w 3805784"/>
                <a:gd name="connsiteY4" fmla="*/ 0 h 266725"/>
                <a:gd name="connsiteX5" fmla="*/ 3805785 w 3805784"/>
                <a:gd name="connsiteY5" fmla="*/ 133363 h 266725"/>
                <a:gd name="connsiteX6" fmla="*/ 3672422 w 3805784"/>
                <a:gd name="connsiteY6" fmla="*/ 266725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784" h="266725">
                  <a:moveTo>
                    <a:pt x="3672422" y="266725"/>
                  </a:moveTo>
                  <a:lnTo>
                    <a:pt x="133363" y="266725"/>
                  </a:lnTo>
                  <a:cubicBezTo>
                    <a:pt x="59708" y="266725"/>
                    <a:pt x="0" y="207016"/>
                    <a:pt x="0" y="133363"/>
                  </a:cubicBezTo>
                  <a:cubicBezTo>
                    <a:pt x="0" y="59708"/>
                    <a:pt x="59708" y="0"/>
                    <a:pt x="133363" y="0"/>
                  </a:cubicBezTo>
                  <a:lnTo>
                    <a:pt x="3672422" y="0"/>
                  </a:lnTo>
                  <a:cubicBezTo>
                    <a:pt x="3746076" y="0"/>
                    <a:pt x="3805785" y="59708"/>
                    <a:pt x="3805785" y="133363"/>
                  </a:cubicBezTo>
                  <a:cubicBezTo>
                    <a:pt x="3805785" y="207016"/>
                    <a:pt x="3746076" y="266725"/>
                    <a:pt x="3672422" y="266725"/>
                  </a:cubicBezTo>
                  <a:close/>
                </a:path>
              </a:pathLst>
            </a:custGeom>
            <a:solidFill>
              <a:schemeClr val="tx2"/>
            </a:solid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D659ED3-A38A-4C5E-9EA9-5359317A1A2D}"/>
                </a:ext>
              </a:extLst>
            </p:cNvPr>
            <p:cNvSpPr/>
            <p:nvPr/>
          </p:nvSpPr>
          <p:spPr>
            <a:xfrm>
              <a:off x="-1143" y="3151164"/>
              <a:ext cx="3273859" cy="266725"/>
            </a:xfrm>
            <a:custGeom>
              <a:avLst/>
              <a:gdLst>
                <a:gd name="connsiteX0" fmla="*/ 3273859 w 3273859"/>
                <a:gd name="connsiteY0" fmla="*/ 133363 h 266725"/>
                <a:gd name="connsiteX1" fmla="*/ 3140497 w 3273859"/>
                <a:gd name="connsiteY1" fmla="*/ 0 h 266725"/>
                <a:gd name="connsiteX2" fmla="*/ 0 w 3273859"/>
                <a:gd name="connsiteY2" fmla="*/ 0 h 266725"/>
                <a:gd name="connsiteX3" fmla="*/ 0 w 3273859"/>
                <a:gd name="connsiteY3" fmla="*/ 266725 h 266725"/>
                <a:gd name="connsiteX4" fmla="*/ 3140496 w 3273859"/>
                <a:gd name="connsiteY4" fmla="*/ 266725 h 266725"/>
                <a:gd name="connsiteX5" fmla="*/ 3273859 w 3273859"/>
                <a:gd name="connsiteY5" fmla="*/ 133363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859" h="266725">
                  <a:moveTo>
                    <a:pt x="3273859" y="133363"/>
                  </a:moveTo>
                  <a:cubicBezTo>
                    <a:pt x="3273859" y="59708"/>
                    <a:pt x="3214151" y="0"/>
                    <a:pt x="3140497" y="0"/>
                  </a:cubicBezTo>
                  <a:lnTo>
                    <a:pt x="0" y="0"/>
                  </a:lnTo>
                  <a:lnTo>
                    <a:pt x="0" y="266725"/>
                  </a:lnTo>
                  <a:lnTo>
                    <a:pt x="3140496" y="266725"/>
                  </a:lnTo>
                  <a:cubicBezTo>
                    <a:pt x="3214151" y="266725"/>
                    <a:pt x="3273859" y="207016"/>
                    <a:pt x="3273859" y="133363"/>
                  </a:cubicBezTo>
                  <a:close/>
                </a:path>
              </a:pathLst>
            </a:custGeom>
            <a:solidFill>
              <a:srgbClr val="85ABE3"/>
            </a:solidFill>
            <a:ln w="12700" cap="flat">
              <a:noFill/>
              <a:prstDash val="solid"/>
              <a:miter/>
            </a:ln>
          </p:spPr>
          <p:txBody>
            <a:bodyPr rtlCol="0" anchor="ctr"/>
            <a:lstStyle/>
            <a:p>
              <a:endParaRPr lang="en-GB"/>
            </a:p>
          </p:txBody>
        </p:sp>
      </p:grpSp>
      <p:sp>
        <p:nvSpPr>
          <p:cNvPr id="25" name="Company string">
            <a:extLst>
              <a:ext uri="{FF2B5EF4-FFF2-40B4-BE49-F238E27FC236}">
                <a16:creationId xmlns:a16="http://schemas.microsoft.com/office/drawing/2014/main" id="{74AE327E-BE78-44B5-802A-9526B798AEA9}"/>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30976439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357413"/>
            <a:ext cx="10753723" cy="2779864"/>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en-GB" i="0"/>
              <a:t>twobirds.com</a:t>
            </a:r>
          </a:p>
          <a:p>
            <a:pPr lvl="1">
              <a:spcAft>
                <a:spcPts val="1800"/>
              </a:spcAft>
            </a:pPr>
            <a:r>
              <a:rPr lang="en-GB" i="0">
                <a:solidFill>
                  <a:schemeClr val="dk2"/>
                </a:solidFill>
              </a:rPr>
              <a:t>● </a:t>
            </a:r>
            <a:r>
              <a:rPr lang="en-GB" i="0"/>
              <a:t>Abu Dhabi </a:t>
            </a:r>
            <a:r>
              <a:rPr lang="en-GB" i="0">
                <a:solidFill>
                  <a:schemeClr val="dk2"/>
                </a:solidFill>
              </a:rPr>
              <a:t>● </a:t>
            </a:r>
            <a:r>
              <a:rPr lang="en-GB" i="0"/>
              <a:t>Amsterdam </a:t>
            </a:r>
            <a:r>
              <a:rPr lang="en-GB" i="0">
                <a:solidFill>
                  <a:schemeClr val="dk2"/>
                </a:solidFill>
              </a:rPr>
              <a:t>● </a:t>
            </a:r>
            <a:r>
              <a:rPr lang="en-GB" i="0"/>
              <a:t>Beijing </a:t>
            </a:r>
            <a:r>
              <a:rPr lang="en-GB" i="0">
                <a:solidFill>
                  <a:schemeClr val="dk2"/>
                </a:solidFill>
              </a:rPr>
              <a:t>● </a:t>
            </a:r>
            <a:r>
              <a:rPr lang="en-GB" i="0"/>
              <a:t>Bratislava </a:t>
            </a:r>
            <a:r>
              <a:rPr lang="en-GB" i="0">
                <a:solidFill>
                  <a:schemeClr val="dk2"/>
                </a:solidFill>
              </a:rPr>
              <a:t>● </a:t>
            </a:r>
            <a:r>
              <a:rPr lang="en-GB" i="0"/>
              <a:t>Brussels </a:t>
            </a:r>
            <a:r>
              <a:rPr lang="en-GB" i="0">
                <a:solidFill>
                  <a:schemeClr val="dk2"/>
                </a:solidFill>
              </a:rPr>
              <a:t>● </a:t>
            </a:r>
            <a:r>
              <a:rPr lang="en-GB" i="0"/>
              <a:t>Budapest </a:t>
            </a:r>
            <a:r>
              <a:rPr lang="en-GB" i="0">
                <a:solidFill>
                  <a:schemeClr val="dk2"/>
                </a:solidFill>
              </a:rPr>
              <a:t>● </a:t>
            </a:r>
            <a:r>
              <a:rPr lang="en-GB" i="0"/>
              <a:t>Casablanca </a:t>
            </a:r>
            <a:r>
              <a:rPr lang="en-GB" i="0">
                <a:solidFill>
                  <a:schemeClr val="dk2"/>
                </a:solidFill>
              </a:rPr>
              <a:t>● </a:t>
            </a:r>
            <a:r>
              <a:rPr lang="en-GB" i="0"/>
              <a:t>Copenhagen </a:t>
            </a:r>
            <a:r>
              <a:rPr lang="en-GB" i="0">
                <a:solidFill>
                  <a:schemeClr val="dk2"/>
                </a:solidFill>
              </a:rPr>
              <a:t>● </a:t>
            </a:r>
            <a:r>
              <a:rPr lang="en-GB" i="0"/>
              <a:t>Dubai </a:t>
            </a:r>
            <a:r>
              <a:rPr lang="en-GB" i="0">
                <a:solidFill>
                  <a:schemeClr val="dk2"/>
                </a:solidFill>
              </a:rPr>
              <a:t>● </a:t>
            </a:r>
            <a:r>
              <a:rPr lang="en-GB" i="0"/>
              <a:t>Dusseldorf</a:t>
            </a:r>
            <a:br>
              <a:rPr lang="en-GB" i="0"/>
            </a:br>
            <a:r>
              <a:rPr lang="en-GB" i="0">
                <a:solidFill>
                  <a:schemeClr val="dk2"/>
                </a:solidFill>
              </a:rPr>
              <a:t>● </a:t>
            </a:r>
            <a:r>
              <a:rPr lang="en-GB" i="0"/>
              <a:t>Frankfurt </a:t>
            </a:r>
            <a:r>
              <a:rPr lang="en-GB" i="0">
                <a:solidFill>
                  <a:schemeClr val="dk2"/>
                </a:solidFill>
              </a:rPr>
              <a:t>● </a:t>
            </a:r>
            <a:r>
              <a:rPr lang="en-GB" i="0"/>
              <a:t>The Hague </a:t>
            </a:r>
            <a:r>
              <a:rPr lang="en-GB" i="0">
                <a:solidFill>
                  <a:schemeClr val="dk2"/>
                </a:solidFill>
              </a:rPr>
              <a:t>● </a:t>
            </a:r>
            <a:r>
              <a:rPr lang="en-GB" i="0"/>
              <a:t>Hamburg </a:t>
            </a:r>
            <a:r>
              <a:rPr lang="en-GB" i="0">
                <a:solidFill>
                  <a:schemeClr val="dk2"/>
                </a:solidFill>
              </a:rPr>
              <a:t>● </a:t>
            </a:r>
            <a:r>
              <a:rPr lang="en-GB" i="0"/>
              <a:t>Helsinki </a:t>
            </a:r>
            <a:r>
              <a:rPr lang="en-GB" i="0">
                <a:solidFill>
                  <a:schemeClr val="dk2"/>
                </a:solidFill>
              </a:rPr>
              <a:t>● </a:t>
            </a:r>
            <a:r>
              <a:rPr lang="en-GB" i="0"/>
              <a:t>Hong Kong </a:t>
            </a:r>
            <a:r>
              <a:rPr lang="en-GB" i="0">
                <a:solidFill>
                  <a:schemeClr val="dk2"/>
                </a:solidFill>
              </a:rPr>
              <a:t>● </a:t>
            </a:r>
            <a:r>
              <a:rPr lang="en-GB" i="0"/>
              <a:t>London </a:t>
            </a:r>
            <a:r>
              <a:rPr lang="en-GB" i="0">
                <a:solidFill>
                  <a:schemeClr val="dk2"/>
                </a:solidFill>
              </a:rPr>
              <a:t>● </a:t>
            </a:r>
            <a:r>
              <a:rPr lang="en-GB" i="0"/>
              <a:t>Luxembourg </a:t>
            </a:r>
            <a:r>
              <a:rPr lang="en-GB" i="0">
                <a:solidFill>
                  <a:schemeClr val="dk2"/>
                </a:solidFill>
              </a:rPr>
              <a:t>● </a:t>
            </a:r>
            <a:r>
              <a:rPr lang="en-GB" i="0"/>
              <a:t>Lyon </a:t>
            </a:r>
            <a:r>
              <a:rPr lang="en-GB" i="0">
                <a:solidFill>
                  <a:schemeClr val="dk2"/>
                </a:solidFill>
              </a:rPr>
              <a:t>● </a:t>
            </a:r>
            <a:r>
              <a:rPr lang="en-GB" i="0"/>
              <a:t>Madrid </a:t>
            </a:r>
            <a:r>
              <a:rPr lang="en-GB" i="0">
                <a:solidFill>
                  <a:schemeClr val="dk2"/>
                </a:solidFill>
              </a:rPr>
              <a:t>● </a:t>
            </a:r>
            <a:r>
              <a:rPr lang="en-GB" i="0"/>
              <a:t>Milan </a:t>
            </a:r>
            <a:r>
              <a:rPr lang="en-GB" i="0">
                <a:solidFill>
                  <a:schemeClr val="dk2"/>
                </a:solidFill>
              </a:rPr>
              <a:t>● </a:t>
            </a:r>
            <a:r>
              <a:rPr lang="en-GB" i="0"/>
              <a:t>Munich </a:t>
            </a:r>
            <a:r>
              <a:rPr lang="en-GB" i="0">
                <a:solidFill>
                  <a:schemeClr val="dk2"/>
                </a:solidFill>
              </a:rPr>
              <a:t>● </a:t>
            </a:r>
            <a:r>
              <a:rPr lang="en-GB" i="0"/>
              <a:t>Paris</a:t>
            </a:r>
            <a:br>
              <a:rPr lang="en-GB" i="0"/>
            </a:br>
            <a:r>
              <a:rPr lang="en-GB" i="0">
                <a:solidFill>
                  <a:schemeClr val="dk2"/>
                </a:solidFill>
              </a:rPr>
              <a:t>● </a:t>
            </a:r>
            <a:r>
              <a:rPr lang="en-GB" i="0"/>
              <a:t>Prague </a:t>
            </a:r>
            <a:r>
              <a:rPr lang="en-GB" i="0">
                <a:solidFill>
                  <a:schemeClr val="dk2"/>
                </a:solidFill>
              </a:rPr>
              <a:t>● </a:t>
            </a:r>
            <a:r>
              <a:rPr lang="en-GB" i="0"/>
              <a:t>Rome </a:t>
            </a:r>
            <a:r>
              <a:rPr lang="en-GB" i="0">
                <a:solidFill>
                  <a:schemeClr val="dk2"/>
                </a:solidFill>
              </a:rPr>
              <a:t>● </a:t>
            </a:r>
            <a:r>
              <a:rPr lang="en-GB" i="0"/>
              <a:t>San Francisco </a:t>
            </a:r>
            <a:r>
              <a:rPr lang="en-GB" i="0">
                <a:solidFill>
                  <a:schemeClr val="dk2"/>
                </a:solidFill>
              </a:rPr>
              <a:t>● </a:t>
            </a:r>
            <a:r>
              <a:rPr lang="en-GB" i="0"/>
              <a:t>Shanghai </a:t>
            </a:r>
            <a:r>
              <a:rPr lang="en-GB" i="0">
                <a:solidFill>
                  <a:schemeClr val="dk2"/>
                </a:solidFill>
              </a:rPr>
              <a:t>● </a:t>
            </a:r>
            <a:r>
              <a:rPr lang="en-GB" i="0"/>
              <a:t>Singapore </a:t>
            </a:r>
            <a:r>
              <a:rPr lang="en-GB" i="0">
                <a:solidFill>
                  <a:schemeClr val="dk2"/>
                </a:solidFill>
              </a:rPr>
              <a:t>● </a:t>
            </a:r>
            <a:r>
              <a:rPr lang="en-GB" i="0"/>
              <a:t>Stockholm </a:t>
            </a:r>
            <a:r>
              <a:rPr lang="en-GB" i="0">
                <a:solidFill>
                  <a:schemeClr val="dk2"/>
                </a:solidFill>
              </a:rPr>
              <a:t>● </a:t>
            </a:r>
            <a:r>
              <a:rPr lang="en-GB" i="0"/>
              <a:t>Sydney </a:t>
            </a:r>
            <a:r>
              <a:rPr lang="en-GB" i="0">
                <a:solidFill>
                  <a:schemeClr val="dk2"/>
                </a:solidFill>
              </a:rPr>
              <a:t>● </a:t>
            </a:r>
            <a:r>
              <a:rPr lang="en-GB" i="0"/>
              <a:t>Warsaw</a:t>
            </a:r>
          </a:p>
          <a:p>
            <a:pPr lvl="2">
              <a:lnSpc>
                <a:spcPct val="100000"/>
              </a:lnSpc>
              <a:spcBef>
                <a:spcPts val="300"/>
              </a:spcBef>
              <a:spcAft>
                <a:spcPts val="0"/>
              </a:spcAft>
            </a:pPr>
            <a:r>
              <a:rPr lang="en-GB" sz="800" i="0" kern="800" spc="-10">
                <a:latin typeface="+mn-lt"/>
              </a:rPr>
              <a:t>The information given in this document concerning technical legal or professional subject matter is for guidance only and does not constitute legal or professional advice.  Always consult a suitably qualified lawyer on any specific legal problem or matter. Bird &amp; Bird assumes no responsibility for such information contained in this document and disclaims all liability in respect of such information.</a:t>
            </a:r>
          </a:p>
          <a:p>
            <a:pPr lvl="2">
              <a:lnSpc>
                <a:spcPct val="100000"/>
              </a:lnSpc>
              <a:spcBef>
                <a:spcPts val="300"/>
              </a:spcBef>
              <a:spcAft>
                <a:spcPts val="0"/>
              </a:spcAft>
            </a:pPr>
            <a:r>
              <a:rPr lang="en-GB" sz="800" i="0" kern="800" spc="-10">
                <a:latin typeface="+mn-lt"/>
              </a:rPr>
              <a:t>This document is confidential.  Bird &amp; Bird is, unless otherwise stated, the owner of copyright of this document and its contents. No part of this document may be published, distributed, extracted, re-utilised, or reproduced in any material form.</a:t>
            </a:r>
          </a:p>
          <a:p>
            <a:pPr lvl="2">
              <a:lnSpc>
                <a:spcPct val="100000"/>
              </a:lnSpc>
              <a:spcBef>
                <a:spcPts val="300"/>
              </a:spcBef>
              <a:spcAft>
                <a:spcPts val="0"/>
              </a:spcAft>
            </a:pPr>
            <a:r>
              <a:rPr lang="en-GB" sz="800" i="0" kern="800" spc="-10">
                <a:latin typeface="+mn-lt"/>
              </a:rPr>
              <a:t>Bird &amp; Bird is an international legal practice comprising Bird &amp; Bird LLP and its affiliated and associated businesses.</a:t>
            </a:r>
          </a:p>
          <a:p>
            <a:pPr lvl="2">
              <a:lnSpc>
                <a:spcPct val="100000"/>
              </a:lnSpc>
              <a:spcBef>
                <a:spcPts val="300"/>
              </a:spcBef>
              <a:spcAft>
                <a:spcPts val="0"/>
              </a:spcAft>
            </a:pPr>
            <a:r>
              <a:rPr lang="en-GB" sz="800" i="0" kern="800" spc="-10">
                <a:latin typeface="+mn-lt"/>
              </a:rPr>
              <a:t>Bird &amp; Bird LLP is a limited liability partnership, registered in England and Wales with registered number OC340318 and is authorised and regulated by the Solicitors Regulation Authority (SRA) with SRA ID497264. Its registered office and principal place of business is at 12 New Fetter Lane, London EC4A 1JP. A list of members of Bird &amp; Bird LLP and of any non-members who are designated as partners, and of their respective professional qualifications, is open to inspection at that address.</a:t>
            </a:r>
            <a:endParaRPr lang="en-GB" sz="800" i="0" kern="800" spc="-10" baseline="0" dirty="0">
              <a:latin typeface="+mn-lt"/>
            </a:endParaRPr>
          </a:p>
        </p:txBody>
      </p:sp>
    </p:spTree>
    <p:extLst>
      <p:ext uri="{BB962C8B-B14F-4D97-AF65-F5344CB8AC3E}">
        <p14:creationId xmlns:p14="http://schemas.microsoft.com/office/powerpoint/2010/main" val="1338733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10752138" cy="720000"/>
          </a:xfrm>
        </p:spPr>
        <p:txBody>
          <a:bodyPr/>
          <a:lstStyle/>
          <a:p>
            <a:r>
              <a:rPr lang="en-US"/>
              <a:t>Click to edit Master title style</a:t>
            </a:r>
            <a:endParaRPr lang="en-GB" dirty="0"/>
          </a:p>
        </p:txBody>
      </p:sp>
    </p:spTree>
    <p:extLst>
      <p:ext uri="{BB962C8B-B14F-4D97-AF65-F5344CB8AC3E}">
        <p14:creationId xmlns:p14="http://schemas.microsoft.com/office/powerpoint/2010/main" val="1847033326"/>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itle and Subtitle 8">
    <p:bg>
      <p:bgPr>
        <a:solidFill>
          <a:schemeClr val="accent5"/>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grpSp>
        <p:nvGrpSpPr>
          <p:cNvPr id="11" name="Group 10">
            <a:extLst>
              <a:ext uri="{FF2B5EF4-FFF2-40B4-BE49-F238E27FC236}">
                <a16:creationId xmlns:a16="http://schemas.microsoft.com/office/drawing/2014/main" id="{D202DB31-16C5-4FA3-852C-A940D8BE4910}"/>
              </a:ext>
            </a:extLst>
          </p:cNvPr>
          <p:cNvGrpSpPr/>
          <p:nvPr userDrawn="1"/>
        </p:nvGrpSpPr>
        <p:grpSpPr>
          <a:xfrm>
            <a:off x="10733882" y="0"/>
            <a:ext cx="1458118" cy="4629473"/>
            <a:chOff x="10733882" y="0"/>
            <a:chExt cx="1458118" cy="4629473"/>
          </a:xfrm>
        </p:grpSpPr>
        <p:sp>
          <p:nvSpPr>
            <p:cNvPr id="12" name="Freeform: Shape 11">
              <a:extLst>
                <a:ext uri="{FF2B5EF4-FFF2-40B4-BE49-F238E27FC236}">
                  <a16:creationId xmlns:a16="http://schemas.microsoft.com/office/drawing/2014/main" id="{7D4071B5-1F44-4E9B-9556-AA2FFAE39D46}"/>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80D39D0D-F812-465D-A10D-687AA803421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bg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468555768"/>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7377149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3FF853F-1700-4061-8D05-4C80124D5391}"/>
              </a:ext>
            </a:extLst>
          </p:cNvPr>
          <p:cNvSpPr/>
          <p:nvPr/>
        </p:nvSpPr>
        <p:spPr>
          <a:xfrm>
            <a:off x="0" y="-1"/>
            <a:ext cx="12192000" cy="6857357"/>
          </a:xfrm>
          <a:custGeom>
            <a:avLst/>
            <a:gdLst>
              <a:gd name="connsiteX0" fmla="*/ 0 w 1280120"/>
              <a:gd name="connsiteY0" fmla="*/ 0 h 720000"/>
              <a:gd name="connsiteX1" fmla="*/ 1280120 w 1280120"/>
              <a:gd name="connsiteY1" fmla="*/ 0 h 720000"/>
              <a:gd name="connsiteX2" fmla="*/ 1280120 w 1280120"/>
              <a:gd name="connsiteY2" fmla="*/ 720000 h 720000"/>
              <a:gd name="connsiteX3" fmla="*/ 0 w 1280120"/>
              <a:gd name="connsiteY3" fmla="*/ 720000 h 720000"/>
            </a:gdLst>
            <a:ahLst/>
            <a:cxnLst>
              <a:cxn ang="0">
                <a:pos x="connsiteX0" y="connsiteY0"/>
              </a:cxn>
              <a:cxn ang="0">
                <a:pos x="connsiteX1" y="connsiteY1"/>
              </a:cxn>
              <a:cxn ang="0">
                <a:pos x="connsiteX2" y="connsiteY2"/>
              </a:cxn>
              <a:cxn ang="0">
                <a:pos x="connsiteX3" y="connsiteY3"/>
              </a:cxn>
            </a:cxnLst>
            <a:rect l="l" t="t" r="r" b="b"/>
            <a:pathLst>
              <a:path w="1280120" h="720000">
                <a:moveTo>
                  <a:pt x="0" y="0"/>
                </a:moveTo>
                <a:lnTo>
                  <a:pt x="1280120" y="0"/>
                </a:lnTo>
                <a:lnTo>
                  <a:pt x="1280120" y="720000"/>
                </a:lnTo>
                <a:lnTo>
                  <a:pt x="0" y="720000"/>
                </a:lnTo>
                <a:close/>
              </a:path>
            </a:pathLst>
          </a:custGeom>
          <a:noFill/>
          <a:ln w="1330" cap="flat">
            <a:noFill/>
            <a:prstDash val="solid"/>
            <a:miter/>
          </a:ln>
        </p:spPr>
        <p:txBody>
          <a:bodyPr rtlCol="0" anchor="ctr"/>
          <a:lstStyle/>
          <a:p>
            <a:endParaRPr lang="en-GB"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719137" y="2128838"/>
            <a:ext cx="10752137"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719137" y="666745"/>
            <a:ext cx="9110663" cy="720000"/>
          </a:xfrm>
        </p:spPr>
        <p:txBody>
          <a:body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7EF30BA1-DAC8-4EBD-95C0-F7481F97E29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4938F81-27E5-4205-B28F-059205C194F7}"/>
              </a:ext>
            </a:extLst>
          </p:cNvPr>
          <p:cNvSpPr/>
          <p:nvPr userDrawn="1"/>
        </p:nvSpPr>
        <p:spPr>
          <a:xfrm>
            <a:off x="1" y="-1"/>
            <a:ext cx="12193208" cy="6858001"/>
          </a:xfrm>
          <a:custGeom>
            <a:avLst/>
            <a:gdLst>
              <a:gd name="connsiteX0" fmla="*/ 0 w 12193208"/>
              <a:gd name="connsiteY0" fmla="*/ 0 h 6858001"/>
              <a:gd name="connsiteX1" fmla="*/ 12193208 w 12193208"/>
              <a:gd name="connsiteY1" fmla="*/ 0 h 6858001"/>
              <a:gd name="connsiteX2" fmla="*/ 12193208 w 12193208"/>
              <a:gd name="connsiteY2" fmla="*/ 6858001 h 6858001"/>
              <a:gd name="connsiteX3" fmla="*/ 0 w 1219320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208" h="6858001">
                <a:moveTo>
                  <a:pt x="0" y="0"/>
                </a:moveTo>
                <a:lnTo>
                  <a:pt x="12193208" y="0"/>
                </a:lnTo>
                <a:lnTo>
                  <a:pt x="12193208"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233760496"/>
      </p:ext>
    </p:extLst>
  </p:cSld>
  <p:clrMapOvr>
    <a:masterClrMapping/>
  </p:clrMapOvr>
  <p:extLst>
    <p:ext uri="{DCECCB84-F9BA-43D5-87BE-67443E8EF086}">
      <p15:sldGuideLst xmlns:p15="http://schemas.microsoft.com/office/powerpoint/2012/main"/>
    </p:ext>
  </p:extLst>
</p:sldLayout>
</file>

<file path=ppt/slideMasters/_rels/slideMaster1.xml.rels>&#65279;<?xml version="1.0" encoding="UTF-8" standalone="yes"?>
<Relationships xmlns="http://schemas.openxmlformats.org/package/2006/relationships">
  <Relationship Id="rId26" Type="http://schemas.openxmlformats.org/officeDocument/2006/relationships/slideLayout" Target="../slideLayouts/slideLayout26.xml" />
  <Relationship Id="rId21" Type="http://schemas.openxmlformats.org/officeDocument/2006/relationships/slideLayout" Target="../slideLayouts/slideLayout21.xml" />
  <Relationship Id="rId42" Type="http://schemas.openxmlformats.org/officeDocument/2006/relationships/slideLayout" Target="../slideLayouts/slideLayout42.xml" />
  <Relationship Id="rId47" Type="http://schemas.openxmlformats.org/officeDocument/2006/relationships/slideLayout" Target="../slideLayouts/slideLayout47.xml" />
  <Relationship Id="rId63" Type="http://schemas.openxmlformats.org/officeDocument/2006/relationships/slideLayout" Target="../slideLayouts/slideLayout63.xml" />
  <Relationship Id="rId68" Type="http://schemas.openxmlformats.org/officeDocument/2006/relationships/slideLayout" Target="../slideLayouts/slideLayout68.xml" />
  <Relationship Id="rId7" Type="http://schemas.openxmlformats.org/officeDocument/2006/relationships/slideLayout" Target="../slideLayouts/slideLayout7.xml" />
  <Relationship Id="rId71" Type="http://schemas.openxmlformats.org/officeDocument/2006/relationships/theme" Target="../theme/theme1.xml" />
  <Relationship Id="rId2" Type="http://schemas.openxmlformats.org/officeDocument/2006/relationships/slideLayout" Target="../slideLayouts/slideLayout2.xml" />
  <Relationship Id="rId16" Type="http://schemas.openxmlformats.org/officeDocument/2006/relationships/slideLayout" Target="../slideLayouts/slideLayout16.xml" />
  <Relationship Id="rId29" Type="http://schemas.openxmlformats.org/officeDocument/2006/relationships/slideLayout" Target="../slideLayouts/slideLayout29.xml" />
  <Relationship Id="rId11" Type="http://schemas.openxmlformats.org/officeDocument/2006/relationships/slideLayout" Target="../slideLayouts/slideLayout11.xml" />
  <Relationship Id="rId24" Type="http://schemas.openxmlformats.org/officeDocument/2006/relationships/slideLayout" Target="../slideLayouts/slideLayout24.xml" />
  <Relationship Id="rId32" Type="http://schemas.openxmlformats.org/officeDocument/2006/relationships/slideLayout" Target="../slideLayouts/slideLayout32.xml" />
  <Relationship Id="rId37" Type="http://schemas.openxmlformats.org/officeDocument/2006/relationships/slideLayout" Target="../slideLayouts/slideLayout37.xml" />
  <Relationship Id="rId40" Type="http://schemas.openxmlformats.org/officeDocument/2006/relationships/slideLayout" Target="../slideLayouts/slideLayout40.xml" />
  <Relationship Id="rId45" Type="http://schemas.openxmlformats.org/officeDocument/2006/relationships/slideLayout" Target="../slideLayouts/slideLayout45.xml" />
  <Relationship Id="rId53" Type="http://schemas.openxmlformats.org/officeDocument/2006/relationships/slideLayout" Target="../slideLayouts/slideLayout53.xml" />
  <Relationship Id="rId58" Type="http://schemas.openxmlformats.org/officeDocument/2006/relationships/slideLayout" Target="../slideLayouts/slideLayout58.xml" />
  <Relationship Id="rId66" Type="http://schemas.openxmlformats.org/officeDocument/2006/relationships/slideLayout" Target="../slideLayouts/slideLayout66.xml" />
  <Relationship Id="rId5" Type="http://schemas.openxmlformats.org/officeDocument/2006/relationships/slideLayout" Target="../slideLayouts/slideLayout5.xml" />
  <Relationship Id="rId61" Type="http://schemas.openxmlformats.org/officeDocument/2006/relationships/slideLayout" Target="../slideLayouts/slideLayout61.xml" />
  <Relationship Id="rId19" Type="http://schemas.openxmlformats.org/officeDocument/2006/relationships/slideLayout" Target="../slideLayouts/slideLayout19.xml" />
  <Relationship Id="rId14" Type="http://schemas.openxmlformats.org/officeDocument/2006/relationships/slideLayout" Target="../slideLayouts/slideLayout14.xml" />
  <Relationship Id="rId22" Type="http://schemas.openxmlformats.org/officeDocument/2006/relationships/slideLayout" Target="../slideLayouts/slideLayout22.xml" />
  <Relationship Id="rId27" Type="http://schemas.openxmlformats.org/officeDocument/2006/relationships/slideLayout" Target="../slideLayouts/slideLayout27.xml" />
  <Relationship Id="rId30" Type="http://schemas.openxmlformats.org/officeDocument/2006/relationships/slideLayout" Target="../slideLayouts/slideLayout30.xml" />
  <Relationship Id="rId35" Type="http://schemas.openxmlformats.org/officeDocument/2006/relationships/slideLayout" Target="../slideLayouts/slideLayout35.xml" />
  <Relationship Id="rId43" Type="http://schemas.openxmlformats.org/officeDocument/2006/relationships/slideLayout" Target="../slideLayouts/slideLayout43.xml" />
  <Relationship Id="rId48" Type="http://schemas.openxmlformats.org/officeDocument/2006/relationships/slideLayout" Target="../slideLayouts/slideLayout48.xml" />
  <Relationship Id="rId56" Type="http://schemas.openxmlformats.org/officeDocument/2006/relationships/slideLayout" Target="../slideLayouts/slideLayout56.xml" />
  <Relationship Id="rId64" Type="http://schemas.openxmlformats.org/officeDocument/2006/relationships/slideLayout" Target="../slideLayouts/slideLayout64.xml" />
  <Relationship Id="rId69" Type="http://schemas.openxmlformats.org/officeDocument/2006/relationships/slideLayout" Target="../slideLayouts/slideLayout69.xml" />
  <Relationship Id="rId8" Type="http://schemas.openxmlformats.org/officeDocument/2006/relationships/slideLayout" Target="../slideLayouts/slideLayout8.xml" />
  <Relationship Id="rId51" Type="http://schemas.openxmlformats.org/officeDocument/2006/relationships/slideLayout" Target="../slideLayouts/slideLayout51.xml" />
  <Relationship Id="rId3" Type="http://schemas.openxmlformats.org/officeDocument/2006/relationships/slideLayout" Target="../slideLayouts/slideLayout3.xml" />
  <Relationship Id="rId12" Type="http://schemas.openxmlformats.org/officeDocument/2006/relationships/slideLayout" Target="../slideLayouts/slideLayout12.xml" />
  <Relationship Id="rId17" Type="http://schemas.openxmlformats.org/officeDocument/2006/relationships/slideLayout" Target="../slideLayouts/slideLayout17.xml" />
  <Relationship Id="rId25" Type="http://schemas.openxmlformats.org/officeDocument/2006/relationships/slideLayout" Target="../slideLayouts/slideLayout25.xml" />
  <Relationship Id="rId33" Type="http://schemas.openxmlformats.org/officeDocument/2006/relationships/slideLayout" Target="../slideLayouts/slideLayout33.xml" />
  <Relationship Id="rId38" Type="http://schemas.openxmlformats.org/officeDocument/2006/relationships/slideLayout" Target="../slideLayouts/slideLayout38.xml" />
  <Relationship Id="rId46" Type="http://schemas.openxmlformats.org/officeDocument/2006/relationships/slideLayout" Target="../slideLayouts/slideLayout46.xml" />
  <Relationship Id="rId59" Type="http://schemas.openxmlformats.org/officeDocument/2006/relationships/slideLayout" Target="../slideLayouts/slideLayout59.xml" />
  <Relationship Id="rId67" Type="http://schemas.openxmlformats.org/officeDocument/2006/relationships/slideLayout" Target="../slideLayouts/slideLayout67.xml" />
  <Relationship Id="rId20" Type="http://schemas.openxmlformats.org/officeDocument/2006/relationships/slideLayout" Target="../slideLayouts/slideLayout20.xml" />
  <Relationship Id="rId41" Type="http://schemas.openxmlformats.org/officeDocument/2006/relationships/slideLayout" Target="../slideLayouts/slideLayout41.xml" />
  <Relationship Id="rId54" Type="http://schemas.openxmlformats.org/officeDocument/2006/relationships/slideLayout" Target="../slideLayouts/slideLayout54.xml" />
  <Relationship Id="rId62" Type="http://schemas.openxmlformats.org/officeDocument/2006/relationships/slideLayout" Target="../slideLayouts/slideLayout62.xml" />
  <Relationship Id="rId70" Type="http://schemas.openxmlformats.org/officeDocument/2006/relationships/slideLayout" Target="../slideLayouts/slideLayout70.xml" />
  <Relationship Id="rId1" Type="http://schemas.openxmlformats.org/officeDocument/2006/relationships/slideLayout" Target="../slideLayouts/slideLayout1.xml" />
  <Relationship Id="rId6" Type="http://schemas.openxmlformats.org/officeDocument/2006/relationships/slideLayout" Target="../slideLayouts/slideLayout6.xml" />
  <Relationship Id="rId15" Type="http://schemas.openxmlformats.org/officeDocument/2006/relationships/slideLayout" Target="../slideLayouts/slideLayout15.xml" />
  <Relationship Id="rId23" Type="http://schemas.openxmlformats.org/officeDocument/2006/relationships/slideLayout" Target="../slideLayouts/slideLayout23.xml" />
  <Relationship Id="rId28" Type="http://schemas.openxmlformats.org/officeDocument/2006/relationships/slideLayout" Target="../slideLayouts/slideLayout28.xml" />
  <Relationship Id="rId36" Type="http://schemas.openxmlformats.org/officeDocument/2006/relationships/slideLayout" Target="../slideLayouts/slideLayout36.xml" />
  <Relationship Id="rId49" Type="http://schemas.openxmlformats.org/officeDocument/2006/relationships/slideLayout" Target="../slideLayouts/slideLayout49.xml" />
  <Relationship Id="rId57" Type="http://schemas.openxmlformats.org/officeDocument/2006/relationships/slideLayout" Target="../slideLayouts/slideLayout57.xml" />
  <Relationship Id="rId10" Type="http://schemas.openxmlformats.org/officeDocument/2006/relationships/slideLayout" Target="../slideLayouts/slideLayout10.xml" />
  <Relationship Id="rId31" Type="http://schemas.openxmlformats.org/officeDocument/2006/relationships/slideLayout" Target="../slideLayouts/slideLayout31.xml" />
  <Relationship Id="rId44" Type="http://schemas.openxmlformats.org/officeDocument/2006/relationships/slideLayout" Target="../slideLayouts/slideLayout44.xml" />
  <Relationship Id="rId52" Type="http://schemas.openxmlformats.org/officeDocument/2006/relationships/slideLayout" Target="../slideLayouts/slideLayout52.xml" />
  <Relationship Id="rId60" Type="http://schemas.openxmlformats.org/officeDocument/2006/relationships/slideLayout" Target="../slideLayouts/slideLayout60.xml" />
  <Relationship Id="rId65" Type="http://schemas.openxmlformats.org/officeDocument/2006/relationships/slideLayout" Target="../slideLayouts/slideLayout65.xml" />
  <Relationship Id="rId4" Type="http://schemas.openxmlformats.org/officeDocument/2006/relationships/slideLayout" Target="../slideLayouts/slideLayout4.xml" />
  <Relationship Id="rId9" Type="http://schemas.openxmlformats.org/officeDocument/2006/relationships/slideLayout" Target="../slideLayouts/slideLayout9.xml" />
  <Relationship Id="rId13" Type="http://schemas.openxmlformats.org/officeDocument/2006/relationships/slideLayout" Target="../slideLayouts/slideLayout13.xml" />
  <Relationship Id="rId18" Type="http://schemas.openxmlformats.org/officeDocument/2006/relationships/slideLayout" Target="../slideLayouts/slideLayout18.xml" />
  <Relationship Id="rId39" Type="http://schemas.openxmlformats.org/officeDocument/2006/relationships/slideLayout" Target="../slideLayouts/slideLayout39.xml" />
  <Relationship Id="rId34" Type="http://schemas.openxmlformats.org/officeDocument/2006/relationships/slideLayout" Target="../slideLayouts/slideLayout34.xml" />
  <Relationship Id="rId50" Type="http://schemas.openxmlformats.org/officeDocument/2006/relationships/slideLayout" Target="../slideLayouts/slideLayout50.xml" />
  <Relationship Id="rId55" Type="http://schemas.openxmlformats.org/officeDocument/2006/relationships/slideLayout" Target="../slideLayouts/slideLayout55.xml" />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Slide Number Placeholder">
            <a:extLst>
              <a:ext uri="{FF2B5EF4-FFF2-40B4-BE49-F238E27FC236}">
                <a16:creationId xmlns:a16="http://schemas.microsoft.com/office/drawing/2014/main" id="{1C49C285-C105-4FFD-9C75-9A362E5F34A3}"/>
              </a:ext>
            </a:extLst>
          </p:cNvPr>
          <p:cNvSpPr txBox="1">
            <a:spLocks/>
          </p:cNvSpPr>
          <p:nvPr userDrawn="1"/>
        </p:nvSpPr>
        <p:spPr>
          <a:xfrm>
            <a:off x="11289506" y="6393422"/>
            <a:ext cx="181768" cy="144000"/>
          </a:xfrm>
          <a:prstGeom prst="rect">
            <a:avLst/>
          </a:prstGeom>
        </p:spPr>
        <p:txBody>
          <a:bodyPr vert="horz" lIns="0" tIns="0" rIns="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B7058B-B665-4C1F-9B33-FA7AD15A3078}" type="slidenum">
              <a:rPr lang="en-GB" noProof="0" smtClean="0"/>
              <a:pPr/>
              <a:t>‹#›</a:t>
            </a:fld>
            <a:endParaRPr lang="en-GB" noProof="0" dirty="0"/>
          </a:p>
        </p:txBody>
      </p:sp>
      <p:sp>
        <p:nvSpPr>
          <p:cNvPr id="4" name="Date Placeholder">
            <a:extLst>
              <a:ext uri="{FF2B5EF4-FFF2-40B4-BE49-F238E27FC236}">
                <a16:creationId xmlns:a16="http://schemas.microsoft.com/office/drawing/2014/main" id="{8EFB5881-0197-4292-B7AB-7D22BE2B1F9B}"/>
              </a:ext>
            </a:extLst>
          </p:cNvPr>
          <p:cNvSpPr>
            <a:spLocks noGrp="1"/>
          </p:cNvSpPr>
          <p:nvPr>
            <p:ph type="dt" sz="half" idx="2"/>
          </p:nvPr>
        </p:nvSpPr>
        <p:spPr>
          <a:xfrm>
            <a:off x="1630362" y="6393422"/>
            <a:ext cx="2224738" cy="144000"/>
          </a:xfrm>
          <a:prstGeom prst="rect">
            <a:avLst/>
          </a:prstGeom>
        </p:spPr>
        <p:txBody>
          <a:bodyPr vert="horz" lIns="72000" tIns="0" rIns="0" bIns="0" rtlCol="0" anchor="b" anchorCtr="0">
            <a:noAutofit/>
          </a:bodyPr>
          <a:lstStyle>
            <a:lvl1pPr algn="l">
              <a:defRPr sz="800">
                <a:solidFill>
                  <a:schemeClr val="tx1"/>
                </a:solidFill>
              </a:defRPr>
            </a:lvl1pPr>
          </a:lstStyle>
          <a:p>
            <a:r>
              <a:rPr lang="en-US" noProof="0"/>
              <a:t>dd Month 2021</a:t>
            </a:r>
            <a:endParaRPr lang="en-GB" noProof="0" dirty="0"/>
          </a:p>
        </p:txBody>
      </p:sp>
      <p:sp>
        <p:nvSpPr>
          <p:cNvPr id="5" name="Footer Placeholder 1">
            <a:extLst>
              <a:ext uri="{FF2B5EF4-FFF2-40B4-BE49-F238E27FC236}">
                <a16:creationId xmlns:a16="http://schemas.microsoft.com/office/drawing/2014/main" id="{A024470D-7D94-4E25-BC6C-217B27B5B0A5}"/>
              </a:ext>
            </a:extLst>
          </p:cNvPr>
          <p:cNvSpPr>
            <a:spLocks noGrp="1"/>
          </p:cNvSpPr>
          <p:nvPr>
            <p:ph type="ftr" sz="quarter" idx="3"/>
          </p:nvPr>
        </p:nvSpPr>
        <p:spPr>
          <a:xfrm>
            <a:off x="7096125" y="6393422"/>
            <a:ext cx="4058158" cy="144000"/>
          </a:xfrm>
          <a:prstGeom prst="rect">
            <a:avLst/>
          </a:prstGeom>
        </p:spPr>
        <p:txBody>
          <a:bodyPr vert="horz" lIns="0" tIns="0" rIns="72000" bIns="0" rtlCol="0" anchor="b" anchorCtr="0">
            <a:noAutofit/>
          </a:bodyPr>
          <a:lstStyle>
            <a:lvl1pPr algn="r">
              <a:defRPr sz="800">
                <a:solidFill>
                  <a:schemeClr val="tx1"/>
                </a:solidFill>
              </a:defRPr>
            </a:lvl1pPr>
          </a:lstStyle>
          <a:p>
            <a:r>
              <a:rPr lang="en-GB" noProof="0" dirty="0"/>
              <a:t>Update Footer to add the Document title</a:t>
            </a:r>
          </a:p>
        </p:txBody>
      </p:sp>
      <p:sp>
        <p:nvSpPr>
          <p:cNvPr id="3" name="Text Placeholder 1">
            <a:extLst>
              <a:ext uri="{FF2B5EF4-FFF2-40B4-BE49-F238E27FC236}">
                <a16:creationId xmlns:a16="http://schemas.microsoft.com/office/drawing/2014/main" id="{2D2F7A1F-6C14-4434-84D4-61DE706A4AD2}"/>
              </a:ext>
            </a:extLst>
          </p:cNvPr>
          <p:cNvSpPr>
            <a:spLocks noGrp="1"/>
          </p:cNvSpPr>
          <p:nvPr>
            <p:ph type="body" idx="1"/>
          </p:nvPr>
        </p:nvSpPr>
        <p:spPr>
          <a:xfrm>
            <a:off x="719137" y="2130804"/>
            <a:ext cx="10752137" cy="4008058"/>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 – Bullet 1</a:t>
            </a:r>
          </a:p>
          <a:p>
            <a:pPr lvl="2"/>
            <a:r>
              <a:rPr lang="en-GB" noProof="0" dirty="0"/>
              <a:t>Third level – Bullet 2</a:t>
            </a:r>
          </a:p>
          <a:p>
            <a:pPr lvl="3"/>
            <a:r>
              <a:rPr lang="en-GB" noProof="0" dirty="0"/>
              <a:t>Fourth level – Bullet 3</a:t>
            </a:r>
          </a:p>
          <a:p>
            <a:pPr lvl="4"/>
            <a:r>
              <a:rPr lang="en-GB" noProof="0" dirty="0"/>
              <a:t>Fifth level – Number 1</a:t>
            </a:r>
          </a:p>
          <a:p>
            <a:pPr lvl="5"/>
            <a:r>
              <a:rPr lang="en-GB" noProof="0" dirty="0"/>
              <a:t>Sixth level – Number 2</a:t>
            </a:r>
          </a:p>
          <a:p>
            <a:pPr lvl="6"/>
            <a:r>
              <a:rPr lang="en-GB" noProof="0" dirty="0"/>
              <a:t>Seventh level – Heading 1</a:t>
            </a:r>
          </a:p>
          <a:p>
            <a:pPr lvl="7"/>
            <a:r>
              <a:rPr lang="en-GB" noProof="0" dirty="0"/>
              <a:t>Eighth level – Heading 2</a:t>
            </a:r>
          </a:p>
          <a:p>
            <a:pPr lvl="8"/>
            <a:r>
              <a:rPr lang="en-GB" noProof="0" dirty="0"/>
              <a:t>Ninth level – Pull-out</a:t>
            </a:r>
          </a:p>
        </p:txBody>
      </p:sp>
      <p:sp>
        <p:nvSpPr>
          <p:cNvPr id="2" name="Title Placeholder 1">
            <a:extLst>
              <a:ext uri="{FF2B5EF4-FFF2-40B4-BE49-F238E27FC236}">
                <a16:creationId xmlns:a16="http://schemas.microsoft.com/office/drawing/2014/main" id="{AB0A03BB-1213-4335-8CC5-02AB3105793C}"/>
              </a:ext>
            </a:extLst>
          </p:cNvPr>
          <p:cNvSpPr>
            <a:spLocks noGrp="1"/>
          </p:cNvSpPr>
          <p:nvPr>
            <p:ph type="title"/>
          </p:nvPr>
        </p:nvSpPr>
        <p:spPr>
          <a:xfrm>
            <a:off x="719137" y="666745"/>
            <a:ext cx="10752137" cy="720000"/>
          </a:xfrm>
          <a:prstGeom prst="rect">
            <a:avLst/>
          </a:prstGeom>
        </p:spPr>
        <p:txBody>
          <a:bodyPr vert="horz" lIns="0" tIns="0" rIns="0" bIns="0" rtlCol="0" anchor="t" anchorCtr="0">
            <a:noAutofit/>
          </a:bodyPr>
          <a:lstStyle/>
          <a:p>
            <a:pPr lvl="0"/>
            <a:r>
              <a:rPr lang="en-US" noProof="0"/>
              <a:t>Click to edit Master title style</a:t>
            </a:r>
            <a:endParaRPr lang="en-GB" noProof="0" dirty="0"/>
          </a:p>
        </p:txBody>
      </p:sp>
      <p:sp>
        <p:nvSpPr>
          <p:cNvPr id="12" name="Copyright">
            <a:extLst>
              <a:ext uri="{FF2B5EF4-FFF2-40B4-BE49-F238E27FC236}">
                <a16:creationId xmlns:a16="http://schemas.microsoft.com/office/drawing/2014/main" id="{ECEF6E54-EE16-41B0-871A-0B50552DFDF7}"/>
              </a:ext>
            </a:extLst>
          </p:cNvPr>
          <p:cNvSpPr txBox="1">
            <a:spLocks/>
          </p:cNvSpPr>
          <p:nvPr userDrawn="1"/>
        </p:nvSpPr>
        <p:spPr>
          <a:xfrm>
            <a:off x="719137" y="6393422"/>
            <a:ext cx="1105555" cy="144000"/>
          </a:xfrm>
          <a:prstGeom prst="rect">
            <a:avLst/>
          </a:prstGeom>
        </p:spPr>
        <p:txBody>
          <a:bodyPr vert="horz" wrap="none" lIns="0" tIns="0" rIns="3600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GB" sz="800" noProof="0" dirty="0">
              <a:latin typeface="+mn-lt"/>
            </a:endParaRPr>
          </a:p>
        </p:txBody>
      </p:sp>
    </p:spTree>
    <p:extLst>
      <p:ext uri="{BB962C8B-B14F-4D97-AF65-F5344CB8AC3E}">
        <p14:creationId xmlns:p14="http://schemas.microsoft.com/office/powerpoint/2010/main" val="3911811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4" r:id="rId3"/>
    <p:sldLayoutId id="2147483662" r:id="rId4"/>
    <p:sldLayoutId id="2147483709" r:id="rId5"/>
    <p:sldLayoutId id="2147483710" r:id="rId6"/>
    <p:sldLayoutId id="2147483654" r:id="rId7"/>
    <p:sldLayoutId id="2147483672" r:id="rId8"/>
    <p:sldLayoutId id="2147483707" r:id="rId9"/>
    <p:sldLayoutId id="2147483711" r:id="rId10"/>
    <p:sldLayoutId id="2147483708" r:id="rId11"/>
    <p:sldLayoutId id="2147483691" r:id="rId12"/>
    <p:sldLayoutId id="2147483694" r:id="rId13"/>
    <p:sldLayoutId id="2147483695" r:id="rId14"/>
    <p:sldLayoutId id="2147483682" r:id="rId15"/>
    <p:sldLayoutId id="2147483705" r:id="rId16"/>
    <p:sldLayoutId id="2147483703" r:id="rId17"/>
    <p:sldLayoutId id="2147483663" r:id="rId18"/>
    <p:sldLayoutId id="2147483698" r:id="rId19"/>
    <p:sldLayoutId id="2147483696" r:id="rId20"/>
    <p:sldLayoutId id="2147483664" r:id="rId21"/>
    <p:sldLayoutId id="2147483699" r:id="rId22"/>
    <p:sldLayoutId id="2147483704" r:id="rId23"/>
    <p:sldLayoutId id="2147483706" r:id="rId24"/>
    <p:sldLayoutId id="2147483712" r:id="rId25"/>
    <p:sldLayoutId id="2147483713" r:id="rId26"/>
    <p:sldLayoutId id="2147483693" r:id="rId27"/>
    <p:sldLayoutId id="2147483655" r:id="rId28"/>
    <p:sldLayoutId id="2147483671" r:id="rId29"/>
    <p:sldLayoutId id="2147483676" r:id="rId30"/>
    <p:sldLayoutId id="2147483675" r:id="rId31"/>
    <p:sldLayoutId id="2147483680" r:id="rId32"/>
    <p:sldLayoutId id="2147483673" r:id="rId33"/>
    <p:sldLayoutId id="2147483681" r:id="rId34"/>
    <p:sldLayoutId id="2147483674" r:id="rId35"/>
    <p:sldLayoutId id="2147483685" r:id="rId36"/>
    <p:sldLayoutId id="2147483684" r:id="rId37"/>
    <p:sldLayoutId id="2147483716" r:id="rId38"/>
    <p:sldLayoutId id="2147483651" r:id="rId39"/>
    <p:sldLayoutId id="2147483665" r:id="rId40"/>
    <p:sldLayoutId id="2147483666" r:id="rId41"/>
    <p:sldLayoutId id="2147483668" r:id="rId42"/>
    <p:sldLayoutId id="2147483686" r:id="rId43"/>
    <p:sldLayoutId id="2147483722" r:id="rId44"/>
    <p:sldLayoutId id="2147483687" r:id="rId45"/>
    <p:sldLayoutId id="2147483723" r:id="rId46"/>
    <p:sldLayoutId id="2147483688" r:id="rId47"/>
    <p:sldLayoutId id="2147483724" r:id="rId48"/>
    <p:sldLayoutId id="2147483689" r:id="rId49"/>
    <p:sldLayoutId id="2147483725" r:id="rId50"/>
    <p:sldLayoutId id="2147483690" r:id="rId51"/>
    <p:sldLayoutId id="2147483726" r:id="rId52"/>
    <p:sldLayoutId id="2147483700" r:id="rId53"/>
    <p:sldLayoutId id="2147483660" r:id="rId54"/>
    <p:sldLayoutId id="2147483730" r:id="rId55"/>
    <p:sldLayoutId id="2147483715" r:id="rId56"/>
    <p:sldLayoutId id="2147483701" r:id="rId57"/>
    <p:sldLayoutId id="2147483733" r:id="rId58"/>
    <p:sldLayoutId id="2147483702" r:id="rId59"/>
    <p:sldLayoutId id="2147483714" r:id="rId60"/>
    <p:sldLayoutId id="2147483669" r:id="rId61"/>
    <p:sldLayoutId id="2147483670" r:id="rId62"/>
    <p:sldLayoutId id="2147483735" r:id="rId63"/>
    <p:sldLayoutId id="2147483677" r:id="rId64"/>
    <p:sldLayoutId id="2147483678" r:id="rId65"/>
    <p:sldLayoutId id="2147483679" r:id="rId66"/>
    <p:sldLayoutId id="2147483727" r:id="rId67"/>
    <p:sldLayoutId id="2147483728" r:id="rId68"/>
    <p:sldLayoutId id="2147483729" r:id="rId69"/>
    <p:sldLayoutId id="2147483736" r:id="rId70"/>
  </p:sldLayoutIdLst>
  <p:hf sldNum="0" hdr="0"/>
  <p:txStyles>
    <p:title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p:titleStyle>
    <p:body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bodyStyle>
    <p:other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6" userDrawn="1">
          <p15:clr>
            <a:srgbClr val="F26B43"/>
          </p15:clr>
        </p15:guide>
        <p15:guide id="3" pos="914" userDrawn="1">
          <p15:clr>
            <a:srgbClr val="A4A3A4"/>
          </p15:clr>
        </p15:guide>
        <p15:guide id="4" pos="1027" userDrawn="1">
          <p15:clr>
            <a:srgbClr val="A4A3A4"/>
          </p15:clr>
        </p15:guide>
        <p15:guide id="5" pos="1487" userDrawn="1">
          <p15:clr>
            <a:srgbClr val="A4A3A4"/>
          </p15:clr>
        </p15:guide>
        <p15:guide id="6" pos="1601" userDrawn="1">
          <p15:clr>
            <a:srgbClr val="A4A3A4"/>
          </p15:clr>
        </p15:guide>
        <p15:guide id="7" pos="2061" userDrawn="1">
          <p15:clr>
            <a:srgbClr val="A4A3A4"/>
          </p15:clr>
        </p15:guide>
        <p15:guide id="8" pos="2175" userDrawn="1">
          <p15:clr>
            <a:srgbClr val="A4A3A4"/>
          </p15:clr>
        </p15:guide>
        <p15:guide id="9" pos="2635" userDrawn="1">
          <p15:clr>
            <a:srgbClr val="A4A3A4"/>
          </p15:clr>
        </p15:guide>
        <p15:guide id="10" pos="2748" userDrawn="1">
          <p15:clr>
            <a:srgbClr val="A4A3A4"/>
          </p15:clr>
        </p15:guide>
        <p15:guide id="11" pos="3209" userDrawn="1">
          <p15:clr>
            <a:srgbClr val="A4A3A4"/>
          </p15:clr>
        </p15:guide>
        <p15:guide id="12" pos="3322" userDrawn="1">
          <p15:clr>
            <a:srgbClr val="A4A3A4"/>
          </p15:clr>
        </p15:guide>
        <p15:guide id="13" pos="3783" userDrawn="1">
          <p15:clr>
            <a:srgbClr val="A4A3A4"/>
          </p15:clr>
        </p15:guide>
        <p15:guide id="14" pos="3896" userDrawn="1">
          <p15:clr>
            <a:srgbClr val="A4A3A4"/>
          </p15:clr>
        </p15:guide>
        <p15:guide id="15" pos="4357" userDrawn="1">
          <p15:clr>
            <a:srgbClr val="A4A3A4"/>
          </p15:clr>
        </p15:guide>
        <p15:guide id="16" pos="4470" userDrawn="1">
          <p15:clr>
            <a:srgbClr val="A4A3A4"/>
          </p15:clr>
        </p15:guide>
        <p15:guide id="17" pos="4931" userDrawn="1">
          <p15:clr>
            <a:srgbClr val="A4A3A4"/>
          </p15:clr>
        </p15:guide>
        <p15:guide id="18" pos="5044" userDrawn="1">
          <p15:clr>
            <a:srgbClr val="A4A3A4"/>
          </p15:clr>
        </p15:guide>
        <p15:guide id="19" pos="5504" userDrawn="1">
          <p15:clr>
            <a:srgbClr val="A4A3A4"/>
          </p15:clr>
        </p15:guide>
        <p15:guide id="20" pos="5618" userDrawn="1">
          <p15:clr>
            <a:srgbClr val="A4A3A4"/>
          </p15:clr>
        </p15:guide>
        <p15:guide id="21" pos="6078" userDrawn="1">
          <p15:clr>
            <a:srgbClr val="A4A3A4"/>
          </p15:clr>
        </p15:guide>
        <p15:guide id="22" pos="6192" userDrawn="1">
          <p15:clr>
            <a:srgbClr val="A4A3A4"/>
          </p15:clr>
        </p15:guide>
        <p15:guide id="23" pos="6652" userDrawn="1">
          <p15:clr>
            <a:srgbClr val="A4A3A4"/>
          </p15:clr>
        </p15:guide>
        <p15:guide id="24" pos="6765" userDrawn="1">
          <p15:clr>
            <a:srgbClr val="A4A3A4"/>
          </p15:clr>
        </p15:guide>
        <p15:guide id="25" orient="horz" pos="450" userDrawn="1">
          <p15:clr>
            <a:srgbClr val="F26B43"/>
          </p15:clr>
        </p15:guide>
        <p15:guide id="26" orient="horz" pos="3866" userDrawn="1">
          <p15:clr>
            <a:srgbClr val="F26B43"/>
          </p15:clr>
        </p15:guide>
        <p15:guide id="27" orient="horz" pos="1341" userDrawn="1">
          <p15:clr>
            <a:srgbClr val="F26B43"/>
          </p15:clr>
        </p15:guide>
        <p15:guide id="28" orient="horz" pos="840" userDrawn="1">
          <p15:clr>
            <a:srgbClr val="F26B43"/>
          </p15:clr>
        </p15:guide>
        <p15:guide id="29" orient="horz" pos="1025" userDrawn="1">
          <p15:clr>
            <a:srgbClr val="F26B43"/>
          </p15:clr>
        </p15:guide>
      </p15:sldGuideLst>
    </p:ext>
  </p:extLst>
</p:sldMaster>
</file>

<file path=ppt/slides/_rels/slide1.xml.rels>&#65279;<?xml version="1.0" encoding="UTF-8" standalone="yes"?>
<Relationships xmlns="http://schemas.openxmlformats.org/package/2006/relationships">
  <Relationship Id="rId1" Type="http://schemas.openxmlformats.org/officeDocument/2006/relationships/slideLayout" Target="../slideLayouts/slideLayout1.xml" />
</Relationships>
</file>

<file path=ppt/slides/_rels/slide10.xml.rels>&#65279;<?xml version="1.0" encoding="UTF-8" standalone="yes"?>
<Relationships xmlns="http://schemas.openxmlformats.org/package/2006/relationships">
  <Relationship Id="rId3" Type="http://schemas.openxmlformats.org/officeDocument/2006/relationships/image" Target="../media/image17.jpeg" />
  <Relationship Id="rId2" Type="http://schemas.openxmlformats.org/officeDocument/2006/relationships/slideLayout" Target="../slideLayouts/slideLayout70.xml" />
  <Relationship Id="rId1" Type="http://schemas.openxmlformats.org/officeDocument/2006/relationships/tags" Target="../tags/tag8.xml" />
</Relationships>
</file>

<file path=ppt/slides/_rels/slide11.xml.rels>&#65279;<?xml version="1.0" encoding="UTF-8" standalone="yes"?>
<Relationships xmlns="http://schemas.openxmlformats.org/package/2006/relationships">
  <Relationship Id="rId3" Type="http://schemas.openxmlformats.org/officeDocument/2006/relationships/image" Target="../media/image18.jpeg" />
  <Relationship Id="rId2" Type="http://schemas.openxmlformats.org/officeDocument/2006/relationships/slideLayout" Target="../slideLayouts/slideLayout70.xml" />
  <Relationship Id="rId1" Type="http://schemas.openxmlformats.org/officeDocument/2006/relationships/tags" Target="../tags/tag9.xml" />
</Relationships>
</file>

<file path=ppt/slides/_rels/slide12.xml.rels>&#65279;<?xml version="1.0" encoding="UTF-8" standalone="yes"?>
<Relationships xmlns="http://schemas.openxmlformats.org/package/2006/relationships">
  <Relationship Id="rId3" Type="http://schemas.openxmlformats.org/officeDocument/2006/relationships/image" Target="../media/image19.png" />
  <Relationship Id="rId2" Type="http://schemas.openxmlformats.org/officeDocument/2006/relationships/slideLayout" Target="../slideLayouts/slideLayout70.xml" />
  <Relationship Id="rId1" Type="http://schemas.openxmlformats.org/officeDocument/2006/relationships/tags" Target="../tags/tag10.xml" />
</Relationships>
</file>

<file path=ppt/slides/_rels/slide13.xml.rels>&#65279;<?xml version="1.0" encoding="UTF-8" standalone="yes"?>
<Relationships xmlns="http://schemas.openxmlformats.org/package/2006/relationships">
  <Relationship Id="rId3" Type="http://schemas.openxmlformats.org/officeDocument/2006/relationships/image" Target="../media/image20.jpeg" />
  <Relationship Id="rId2" Type="http://schemas.openxmlformats.org/officeDocument/2006/relationships/slideLayout" Target="../slideLayouts/slideLayout70.xml" />
  <Relationship Id="rId1" Type="http://schemas.openxmlformats.org/officeDocument/2006/relationships/tags" Target="../tags/tag11.xml" />
</Relationships>
</file>

<file path=ppt/slides/_rels/slide14.xml.rels>&#65279;<?xml version="1.0" encoding="UTF-8" standalone="yes"?>
<Relationships xmlns="http://schemas.openxmlformats.org/package/2006/relationships">
  <Relationship Id="rId3" Type="http://schemas.openxmlformats.org/officeDocument/2006/relationships/image" Target="../media/image21.jpeg" />
  <Relationship Id="rId2" Type="http://schemas.openxmlformats.org/officeDocument/2006/relationships/slideLayout" Target="../slideLayouts/slideLayout70.xml" />
  <Relationship Id="rId1" Type="http://schemas.openxmlformats.org/officeDocument/2006/relationships/tags" Target="../tags/tag12.xml" />
</Relationships>
</file>

<file path=ppt/slides/_rels/slide15.xml.rels>&#65279;<?xml version="1.0" encoding="UTF-8" standalone="yes"?>
<Relationships xmlns="http://schemas.openxmlformats.org/package/2006/relationships">
  <Relationship Id="rId3" Type="http://schemas.openxmlformats.org/officeDocument/2006/relationships/image" Target="../media/image22.jpeg" />
  <Relationship Id="rId2" Type="http://schemas.openxmlformats.org/officeDocument/2006/relationships/slideLayout" Target="../slideLayouts/slideLayout70.xml" />
  <Relationship Id="rId1" Type="http://schemas.openxmlformats.org/officeDocument/2006/relationships/tags" Target="../tags/tag13.xml" />
</Relationships>
</file>

<file path=ppt/slides/_rels/slide16.xml.rels>&#65279;<?xml version="1.0" encoding="UTF-8" standalone="yes"?>
<Relationships xmlns="http://schemas.openxmlformats.org/package/2006/relationships">
  <Relationship Id="rId3" Type="http://schemas.openxmlformats.org/officeDocument/2006/relationships/image" Target="../media/image23.png" />
  <Relationship Id="rId2" Type="http://schemas.openxmlformats.org/officeDocument/2006/relationships/slideLayout" Target="../slideLayouts/slideLayout70.xml" />
  <Relationship Id="rId1" Type="http://schemas.openxmlformats.org/officeDocument/2006/relationships/tags" Target="../tags/tag14.xml" />
</Relationships>
</file>

<file path=ppt/slides/_rels/slide17.xml.rels>&#65279;<?xml version="1.0" encoding="UTF-8" standalone="yes"?>
<Relationships xmlns="http://schemas.openxmlformats.org/package/2006/relationships">
  <Relationship Id="rId3" Type="http://schemas.openxmlformats.org/officeDocument/2006/relationships/image" Target="../media/image24.png" />
  <Relationship Id="rId2" Type="http://schemas.openxmlformats.org/officeDocument/2006/relationships/slideLayout" Target="../slideLayouts/slideLayout70.xml" />
  <Relationship Id="rId1" Type="http://schemas.openxmlformats.org/officeDocument/2006/relationships/tags" Target="../tags/tag15.xml" />
  <Relationship Id="rId4" Type="http://schemas.openxmlformats.org/officeDocument/2006/relationships/image" Target="../media/image25.jpeg" />
</Relationships>
</file>

<file path=ppt/slides/_rels/slide18.xml.rels>&#65279;<?xml version="1.0" encoding="UTF-8" standalone="yes"?>
<Relationships xmlns="http://schemas.openxmlformats.org/package/2006/relationships">
  <Relationship Id="rId3" Type="http://schemas.openxmlformats.org/officeDocument/2006/relationships/image" Target="../media/image26.jpeg" />
  <Relationship Id="rId2" Type="http://schemas.openxmlformats.org/officeDocument/2006/relationships/slideLayout" Target="../slideLayouts/slideLayout70.xml" />
  <Relationship Id="rId1" Type="http://schemas.openxmlformats.org/officeDocument/2006/relationships/tags" Target="../tags/tag16.xml" />
  <Relationship Id="rId4" Type="http://schemas.openxmlformats.org/officeDocument/2006/relationships/image" Target="../media/image27.jpeg" />
</Relationships>
</file>

<file path=ppt/slides/_rels/slide19.xml.rels>&#65279;<?xml version="1.0" encoding="UTF-8" standalone="yes"?>
<Relationships xmlns="http://schemas.openxmlformats.org/package/2006/relationships">
  <Relationship Id="rId3" Type="http://schemas.openxmlformats.org/officeDocument/2006/relationships/image" Target="../media/image28.png" />
  <Relationship Id="rId2" Type="http://schemas.openxmlformats.org/officeDocument/2006/relationships/slideLayout" Target="../slideLayouts/slideLayout70.xml" />
  <Relationship Id="rId1" Type="http://schemas.openxmlformats.org/officeDocument/2006/relationships/tags" Target="../tags/tag17.xml" />
</Relationships>
</file>

<file path=ppt/slides/_rels/slide2.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2.xml" />
</Relationships>
</file>

<file path=ppt/slides/_rels/slide20.xml.rels>&#65279;<?xml version="1.0" encoding="UTF-8" standalone="yes"?>
<Relationships xmlns="http://schemas.openxmlformats.org/package/2006/relationships">
  <Relationship Id="rId3" Type="http://schemas.openxmlformats.org/officeDocument/2006/relationships/image" Target="../media/image29.jpeg" />
  <Relationship Id="rId2" Type="http://schemas.openxmlformats.org/officeDocument/2006/relationships/slideLayout" Target="../slideLayouts/slideLayout70.xml" />
  <Relationship Id="rId1" Type="http://schemas.openxmlformats.org/officeDocument/2006/relationships/tags" Target="../tags/tag18.xml" />
</Relationships>
</file>

<file path=ppt/slides/_rels/slide21.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19.xml" />
</Relationships>
</file>

<file path=ppt/slides/_rels/slide22.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20.xml" />
</Relationships>
</file>

<file path=ppt/slides/_rels/slide23.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21.xml" />
</Relationships>
</file>

<file path=ppt/slides/_rels/slide24.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22.xml" />
</Relationships>
</file>

<file path=ppt/slides/_rels/slide25.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23.xml" />
</Relationships>
</file>

<file path=ppt/slides/_rels/slide26.xml.rels>&#65279;<?xml version="1.0" encoding="UTF-8" standalone="yes"?>
<Relationships xmlns="http://schemas.openxmlformats.org/package/2006/relationships">
  <Relationship Id="rId8" Type="http://schemas.openxmlformats.org/officeDocument/2006/relationships/image" Target="../media/image24.png" />
  <Relationship Id="rId3" Type="http://schemas.openxmlformats.org/officeDocument/2006/relationships/image" Target="../media/image30.jpeg" />
  <Relationship Id="rId7" Type="http://schemas.openxmlformats.org/officeDocument/2006/relationships/image" Target="../media/image33.png" />
  <Relationship Id="rId2" Type="http://schemas.openxmlformats.org/officeDocument/2006/relationships/slideLayout" Target="../slideLayouts/slideLayout70.xml" />
  <Relationship Id="rId1" Type="http://schemas.openxmlformats.org/officeDocument/2006/relationships/tags" Target="../tags/tag24.xml" />
  <Relationship Id="rId6" Type="http://schemas.openxmlformats.org/officeDocument/2006/relationships/image" Target="../media/image27.jpeg" />
  <Relationship Id="rId5" Type="http://schemas.openxmlformats.org/officeDocument/2006/relationships/image" Target="../media/image32.png" />
  <Relationship Id="rId10" Type="http://schemas.openxmlformats.org/officeDocument/2006/relationships/image" Target="../media/image35.jpeg" />
  <Relationship Id="rId4" Type="http://schemas.openxmlformats.org/officeDocument/2006/relationships/image" Target="../media/image31.jpeg" />
  <Relationship Id="rId9" Type="http://schemas.openxmlformats.org/officeDocument/2006/relationships/image" Target="../media/image34.png" />
</Relationships>
</file>

<file path=ppt/slides/_rels/slide27.xml.rels>&#65279;<?xml version="1.0" encoding="UTF-8" standalone="yes"?>
<Relationships xmlns="http://schemas.openxmlformats.org/package/2006/relationships">
  <Relationship Id="rId3" Type="http://schemas.openxmlformats.org/officeDocument/2006/relationships/image" Target="../media/image24.png" />
  <Relationship Id="rId2" Type="http://schemas.openxmlformats.org/officeDocument/2006/relationships/slideLayout" Target="../slideLayouts/slideLayout70.xml" />
  <Relationship Id="rId1" Type="http://schemas.openxmlformats.org/officeDocument/2006/relationships/tags" Target="../tags/tag25.xml" />
</Relationships>
</file>

<file path=ppt/slides/_rels/slide28.xml.rels>&#65279;<?xml version="1.0" encoding="UTF-8" standalone="yes"?>
<Relationships xmlns="http://schemas.openxmlformats.org/package/2006/relationships">
  <Relationship Id="rId3" Type="http://schemas.openxmlformats.org/officeDocument/2006/relationships/image" Target="../media/image36.png" />
  <Relationship Id="rId2" Type="http://schemas.openxmlformats.org/officeDocument/2006/relationships/slideLayout" Target="../slideLayouts/slideLayout70.xml" />
  <Relationship Id="rId1" Type="http://schemas.openxmlformats.org/officeDocument/2006/relationships/tags" Target="../tags/tag26.xml" />
</Relationships>
</file>

<file path=ppt/slides/_rels/slide29.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27.xml" />
</Relationships>
</file>

<file path=ppt/slides/_rels/slide3.xml.rels>&#65279;<?xml version="1.0" encoding="UTF-8" standalone="yes"?>
<Relationships xmlns="http://schemas.openxmlformats.org/package/2006/relationships">
  <Relationship Id="rId1" Type="http://schemas.openxmlformats.org/officeDocument/2006/relationships/slideLayout" Target="../slideLayouts/slideLayout55.xml" />
</Relationships>
</file>

<file path=ppt/slides/_rels/slide30.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28.xml" />
</Relationships>
</file>

<file path=ppt/slides/_rels/slide31.xml.rels>&#65279;<?xml version="1.0" encoding="UTF-8" standalone="yes"?>
<Relationships xmlns="http://schemas.openxmlformats.org/package/2006/relationships">
  <Relationship Id="rId3" Type="http://schemas.openxmlformats.org/officeDocument/2006/relationships/image" Target="../media/image36.png" />
  <Relationship Id="rId2" Type="http://schemas.openxmlformats.org/officeDocument/2006/relationships/slideLayout" Target="../slideLayouts/slideLayout70.xml" />
  <Relationship Id="rId1" Type="http://schemas.openxmlformats.org/officeDocument/2006/relationships/tags" Target="../tags/tag29.xml" />
</Relationships>
</file>

<file path=ppt/slides/_rels/slide32.xml.rels>&#65279;<?xml version="1.0" encoding="UTF-8" standalone="yes"?>
<Relationships xmlns="http://schemas.openxmlformats.org/package/2006/relationships">
  <Relationship Id="rId1" Type="http://schemas.openxmlformats.org/officeDocument/2006/relationships/slideLayout" Target="../slideLayouts/slideLayout55.xml" />
</Relationships>
</file>

<file path=ppt/slides/_rels/slide33.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30.xml" />
</Relationships>
</file>

<file path=ppt/slides/_rels/slide34.xml.rels>&#65279;<?xml version="1.0" encoding="UTF-8" standalone="yes"?>
<Relationships xmlns="http://schemas.openxmlformats.org/package/2006/relationships">
  <Relationship Id="rId3" Type="http://schemas.openxmlformats.org/officeDocument/2006/relationships/image" Target="../media/image37.jpeg" />
  <Relationship Id="rId2" Type="http://schemas.openxmlformats.org/officeDocument/2006/relationships/slideLayout" Target="../slideLayouts/slideLayout70.xml" />
  <Relationship Id="rId1" Type="http://schemas.openxmlformats.org/officeDocument/2006/relationships/tags" Target="../tags/tag31.xml" />
  <Relationship Id="rId4" Type="http://schemas.openxmlformats.org/officeDocument/2006/relationships/image" Target="../media/image13.jpeg" />
</Relationships>
</file>

<file path=ppt/slides/_rels/slide35.xml.rels>&#65279;<?xml version="1.0" encoding="UTF-8" standalone="yes"?>
<Relationships xmlns="http://schemas.openxmlformats.org/package/2006/relationships">
  <Relationship Id="rId3" Type="http://schemas.openxmlformats.org/officeDocument/2006/relationships/image" Target="../media/image38.jpeg" />
  <Relationship Id="rId2" Type="http://schemas.openxmlformats.org/officeDocument/2006/relationships/slideLayout" Target="../slideLayouts/slideLayout70.xml" />
  <Relationship Id="rId1" Type="http://schemas.openxmlformats.org/officeDocument/2006/relationships/tags" Target="../tags/tag32.xml" />
</Relationships>
</file>

<file path=ppt/slides/_rels/slide36.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33.xml" />
</Relationships>
</file>

<file path=ppt/slides/_rels/slide37.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34.xml" />
</Relationships>
</file>

<file path=ppt/slides/_rels/slide38.xml.rels>&#65279;<?xml version="1.0" encoding="UTF-8" standalone="yes"?>
<Relationships xmlns="http://schemas.openxmlformats.org/package/2006/relationships">
  <Relationship Id="rId2" Type="http://schemas.openxmlformats.org/officeDocument/2006/relationships/slideLayout" Target="../slideLayouts/slideLayout70.xml" />
  <Relationship Id="rId1" Type="http://schemas.openxmlformats.org/officeDocument/2006/relationships/tags" Target="../tags/tag35.xml" />
</Relationships>
</file>

<file path=ppt/slides/_rels/slide39.xml.rels>&#65279;<?xml version="1.0" encoding="UTF-8" standalone="yes"?>
<Relationships xmlns="http://schemas.openxmlformats.org/package/2006/relationships">
  <Relationship Id="rId3" Type="http://schemas.openxmlformats.org/officeDocument/2006/relationships/image" Target="../media/image39.png" />
  <Relationship Id="rId2" Type="http://schemas.openxmlformats.org/officeDocument/2006/relationships/slideLayout" Target="../slideLayouts/slideLayout70.xml" />
  <Relationship Id="rId1" Type="http://schemas.openxmlformats.org/officeDocument/2006/relationships/tags" Target="../tags/tag36.xml" />
</Relationships>
</file>

<file path=ppt/slides/_rels/slide4.xml.rels>&#65279;<?xml version="1.0" encoding="UTF-8" standalone="yes"?>
<Relationships xmlns="http://schemas.openxmlformats.org/package/2006/relationships">
  <Relationship Id="rId3" Type="http://schemas.openxmlformats.org/officeDocument/2006/relationships/image" Target="../media/image9.jpeg" />
  <Relationship Id="rId2" Type="http://schemas.openxmlformats.org/officeDocument/2006/relationships/slideLayout" Target="../slideLayouts/slideLayout70.xml" />
  <Relationship Id="rId1" Type="http://schemas.openxmlformats.org/officeDocument/2006/relationships/tags" Target="../tags/tag3.xml" />
  <Relationship Id="rId6" Type="http://schemas.openxmlformats.org/officeDocument/2006/relationships/image" Target="../media/image12.png" />
  <Relationship Id="rId5" Type="http://schemas.openxmlformats.org/officeDocument/2006/relationships/image" Target="../media/image11.png" />
  <Relationship Id="rId4" Type="http://schemas.openxmlformats.org/officeDocument/2006/relationships/image" Target="../media/image10.png" />
</Relationships>
</file>

<file path=ppt/slides/_rels/slide40.xml.rels>&#65279;<?xml version="1.0" encoding="UTF-8" standalone="yes"?>
<Relationships xmlns="http://schemas.openxmlformats.org/package/2006/relationships">
  <Relationship Id="rId1" Type="http://schemas.openxmlformats.org/officeDocument/2006/relationships/slideLayout" Target="../slideLayouts/slideLayout55.xml" />
</Relationships>
</file>

<file path=ppt/slides/_rels/slide5.xml.rels>&#65279;<?xml version="1.0" encoding="UTF-8" standalone="yes"?>
<Relationships xmlns="http://schemas.openxmlformats.org/package/2006/relationships">
  <Relationship Id="rId3" Type="http://schemas.openxmlformats.org/officeDocument/2006/relationships/image" Target="../media/image13.jpeg" />
  <Relationship Id="rId2" Type="http://schemas.openxmlformats.org/officeDocument/2006/relationships/slideLayout" Target="../slideLayouts/slideLayout70.xml" />
  <Relationship Id="rId1" Type="http://schemas.openxmlformats.org/officeDocument/2006/relationships/tags" Target="../tags/tag4.xml" />
</Relationships>
</file>

<file path=ppt/slides/_rels/slide6.xml.rels>&#65279;<?xml version="1.0" encoding="UTF-8" standalone="yes"?>
<Relationships xmlns="http://schemas.openxmlformats.org/package/2006/relationships">
  <Relationship Id="rId3" Type="http://schemas.openxmlformats.org/officeDocument/2006/relationships/image" Target="../media/image14.jpeg" />
  <Relationship Id="rId2" Type="http://schemas.openxmlformats.org/officeDocument/2006/relationships/slideLayout" Target="../slideLayouts/slideLayout70.xml" />
  <Relationship Id="rId1" Type="http://schemas.openxmlformats.org/officeDocument/2006/relationships/tags" Target="../tags/tag5.xml" />
</Relationships>
</file>

<file path=ppt/slides/_rels/slide7.xml.rels>&#65279;<?xml version="1.0" encoding="UTF-8" standalone="yes"?>
<Relationships xmlns="http://schemas.openxmlformats.org/package/2006/relationships">
  <Relationship Id="rId3" Type="http://schemas.openxmlformats.org/officeDocument/2006/relationships/image" Target="../media/image15.png" />
  <Relationship Id="rId2" Type="http://schemas.openxmlformats.org/officeDocument/2006/relationships/slideLayout" Target="../slideLayouts/slideLayout70.xml" />
  <Relationship Id="rId1" Type="http://schemas.openxmlformats.org/officeDocument/2006/relationships/tags" Target="../tags/tag6.xml" />
</Relationships>
</file>

<file path=ppt/slides/_rels/slide8.xml.rels>&#65279;<?xml version="1.0" encoding="UTF-8" standalone="yes"?>
<Relationships xmlns="http://schemas.openxmlformats.org/package/2006/relationships">
  <Relationship Id="rId1" Type="http://schemas.openxmlformats.org/officeDocument/2006/relationships/slideLayout" Target="../slideLayouts/slideLayout55.xml" />
</Relationships>
</file>

<file path=ppt/slides/_rels/slide9.xml.rels>&#65279;<?xml version="1.0" encoding="UTF-8" standalone="yes"?>
<Relationships xmlns="http://schemas.openxmlformats.org/package/2006/relationships">
  <Relationship Id="rId3" Type="http://schemas.openxmlformats.org/officeDocument/2006/relationships/image" Target="../media/image16.png" />
  <Relationship Id="rId2" Type="http://schemas.openxmlformats.org/officeDocument/2006/relationships/slideLayout" Target="../slideLayouts/slideLayout70.xml" />
  <Relationship Id="rId1" Type="http://schemas.openxmlformats.org/officeDocument/2006/relationships/tags" Target="../tags/tag7.xml" />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1">
            <a:extLst>
              <a:ext uri="{FF2B5EF4-FFF2-40B4-BE49-F238E27FC236}">
                <a16:creationId xmlns:a16="http://schemas.microsoft.com/office/drawing/2014/main" id="{2F945F1F-0381-461C-B6F0-4A97B587CD67}"/>
              </a:ext>
            </a:extLst>
          </p:cNvPr>
          <p:cNvSpPr>
            <a:spLocks noGrp="1"/>
          </p:cNvSpPr>
          <p:nvPr>
            <p:ph type="subTitle" idx="1"/>
          </p:nvPr>
        </p:nvSpPr>
        <p:spPr>
          <a:xfrm>
            <a:off x="719137" y="5243229"/>
            <a:ext cx="6197600" cy="864000"/>
          </a:xfrm>
        </p:spPr>
        <p:txBody>
          <a:bodyPr/>
          <a:lstStyle/>
          <a:p>
            <a:pPr lvl="1"/>
            <a:r>
              <a:rPr lang="en-GB" dirty="0" err="1"/>
              <a:t>Studiemiddag</a:t>
            </a:r>
            <a:r>
              <a:rPr lang="en-GB" dirty="0"/>
              <a:t> Vereniging voor </a:t>
            </a:r>
            <a:r>
              <a:rPr lang="en-GB" dirty="0" err="1"/>
              <a:t>Auteursrecht</a:t>
            </a:r>
            <a:endParaRPr lang="en-GB" dirty="0"/>
          </a:p>
          <a:p>
            <a:pPr lvl="1"/>
            <a:r>
              <a:rPr lang="en-GB" dirty="0"/>
              <a:t>17 </a:t>
            </a:r>
            <a:r>
              <a:rPr lang="en-GB" dirty="0" err="1"/>
              <a:t>februari</a:t>
            </a:r>
            <a:r>
              <a:rPr lang="en-GB" dirty="0"/>
              <a:t> 2023</a:t>
            </a:r>
          </a:p>
        </p:txBody>
      </p:sp>
      <p:sp>
        <p:nvSpPr>
          <p:cNvPr id="19" name="Title 1">
            <a:extLst>
              <a:ext uri="{FF2B5EF4-FFF2-40B4-BE49-F238E27FC236}">
                <a16:creationId xmlns:a16="http://schemas.microsoft.com/office/drawing/2014/main" id="{22821C8D-6411-44FD-9BD9-8F42F5486670}"/>
              </a:ext>
            </a:extLst>
          </p:cNvPr>
          <p:cNvSpPr>
            <a:spLocks noGrp="1"/>
          </p:cNvSpPr>
          <p:nvPr>
            <p:ph type="ctrTitle"/>
          </p:nvPr>
        </p:nvSpPr>
        <p:spPr>
          <a:xfrm>
            <a:off x="719137" y="1908351"/>
            <a:ext cx="9329737" cy="2901774"/>
          </a:xfrm>
        </p:spPr>
        <p:txBody>
          <a:bodyPr/>
          <a:lstStyle/>
          <a:p>
            <a:r>
              <a:rPr lang="en-US" sz="6000" dirty="0" err="1"/>
              <a:t>Portretrecht</a:t>
            </a:r>
            <a:br>
              <a:rPr lang="en-US" dirty="0"/>
            </a:br>
            <a:br>
              <a:rPr lang="en-US" dirty="0"/>
            </a:br>
            <a:r>
              <a:rPr lang="en-US" sz="3600" dirty="0" err="1"/>
              <a:t>Een</a:t>
            </a:r>
            <a:r>
              <a:rPr lang="en-US" sz="3600" dirty="0"/>
              <a:t> </a:t>
            </a:r>
            <a:r>
              <a:rPr lang="en-US" sz="3600" dirty="0" err="1"/>
              <a:t>vreemde</a:t>
            </a:r>
            <a:r>
              <a:rPr lang="en-US" sz="3600" dirty="0"/>
              <a:t> (en </a:t>
            </a:r>
            <a:r>
              <a:rPr lang="en-US" sz="3600" dirty="0" err="1"/>
              <a:t>glibberige</a:t>
            </a:r>
            <a:r>
              <a:rPr lang="en-US" sz="3600" dirty="0"/>
              <a:t>) </a:t>
            </a:r>
            <a:r>
              <a:rPr lang="en-US" sz="3600" dirty="0" err="1"/>
              <a:t>eend</a:t>
            </a:r>
            <a:r>
              <a:rPr lang="en-US" sz="3600" dirty="0"/>
              <a:t> in de </a:t>
            </a:r>
            <a:r>
              <a:rPr lang="en-US" sz="3600" dirty="0" err="1"/>
              <a:t>bijt</a:t>
            </a:r>
            <a:br>
              <a:rPr lang="en-US" sz="3600" dirty="0"/>
            </a:br>
            <a:br>
              <a:rPr lang="en-US" sz="3600" dirty="0"/>
            </a:br>
            <a:r>
              <a:rPr lang="en-US" sz="2800" dirty="0"/>
              <a:t>Olaf Trojan</a:t>
            </a:r>
            <a:endParaRPr lang="nl-NL" sz="2800" dirty="0"/>
          </a:p>
        </p:txBody>
      </p:sp>
    </p:spTree>
    <p:extLst>
      <p:ext uri="{BB962C8B-B14F-4D97-AF65-F5344CB8AC3E}">
        <p14:creationId xmlns:p14="http://schemas.microsoft.com/office/powerpoint/2010/main" val="417457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Ferdi E. (1994)</a:t>
            </a:r>
            <a:endParaRPr lang="en-GB" dirty="0"/>
          </a:p>
        </p:txBody>
      </p:sp>
      <p:sp>
        <p:nvSpPr>
          <p:cNvPr id="4" name="Subtitle 1">
            <a:extLst>
              <a:ext uri="{FF2B5EF4-FFF2-40B4-BE49-F238E27FC236}">
                <a16:creationId xmlns:a16="http://schemas.microsoft.com/office/drawing/2014/main" id="{5842C346-6D90-43DA-8AD1-D82303460411}"/>
              </a:ext>
            </a:extLst>
          </p:cNvPr>
          <p:cNvSpPr txBox="1">
            <a:spLocks/>
          </p:cNvSpPr>
          <p:nvPr/>
        </p:nvSpPr>
        <p:spPr>
          <a:xfrm>
            <a:off x="576262" y="1518953"/>
            <a:ext cx="5957887"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rtikel 10 vs </a:t>
            </a:r>
            <a:r>
              <a:rPr lang="en-GB" sz="3200" dirty="0" err="1"/>
              <a:t>artikel</a:t>
            </a:r>
            <a:r>
              <a:rPr lang="en-GB" sz="3200" dirty="0"/>
              <a:t> 8 </a:t>
            </a:r>
          </a:p>
          <a:p>
            <a:pPr lvl="1"/>
            <a:r>
              <a:rPr lang="en-GB" sz="3200" dirty="0"/>
              <a:t> </a:t>
            </a:r>
            <a:r>
              <a:rPr lang="en-GB" sz="3200" dirty="0" err="1"/>
              <a:t>Plaats</a:t>
            </a:r>
            <a:r>
              <a:rPr lang="en-GB" sz="3200" dirty="0"/>
              <a:t> en </a:t>
            </a:r>
            <a:r>
              <a:rPr lang="en-GB" sz="3200" dirty="0" err="1"/>
              <a:t>wijze</a:t>
            </a:r>
            <a:r>
              <a:rPr lang="en-GB" sz="3200" dirty="0"/>
              <a:t> </a:t>
            </a:r>
            <a:r>
              <a:rPr lang="en-GB" sz="3200" dirty="0" err="1"/>
              <a:t>totstandkoming</a:t>
            </a:r>
            <a:endParaRPr lang="en-GB" sz="3200" dirty="0"/>
          </a:p>
          <a:p>
            <a:pPr lvl="1"/>
            <a:r>
              <a:rPr lang="en-GB" sz="3200" dirty="0"/>
              <a:t> </a:t>
            </a:r>
            <a:r>
              <a:rPr lang="en-GB" sz="3200" dirty="0" err="1"/>
              <a:t>Aard</a:t>
            </a:r>
            <a:r>
              <a:rPr lang="en-GB" sz="3200" dirty="0"/>
              <a:t> en mate van </a:t>
            </a:r>
            <a:r>
              <a:rPr lang="en-GB" sz="3200" dirty="0" err="1"/>
              <a:t>initimiteit</a:t>
            </a:r>
            <a:endParaRPr lang="en-GB" sz="3200" dirty="0"/>
          </a:p>
          <a:p>
            <a:pPr lvl="1"/>
            <a:r>
              <a:rPr lang="en-GB" sz="3200" dirty="0"/>
              <a:t> </a:t>
            </a:r>
            <a:r>
              <a:rPr lang="en-GB" sz="3200" dirty="0" err="1"/>
              <a:t>Karakter</a:t>
            </a:r>
            <a:r>
              <a:rPr lang="en-GB" sz="3200" dirty="0"/>
              <a:t> van de </a:t>
            </a:r>
            <a:r>
              <a:rPr lang="en-GB" sz="3200" dirty="0" err="1"/>
              <a:t>afbeelding</a:t>
            </a:r>
            <a:endParaRPr lang="en-GB" sz="3200" dirty="0"/>
          </a:p>
          <a:p>
            <a:pPr lvl="1"/>
            <a:r>
              <a:rPr lang="en-GB" sz="3200" dirty="0"/>
              <a:t> Context van de </a:t>
            </a:r>
            <a:r>
              <a:rPr lang="en-GB" sz="3200" dirty="0" err="1"/>
              <a:t>publicatie</a:t>
            </a:r>
            <a:endParaRPr lang="en-GB" sz="3200" dirty="0"/>
          </a:p>
          <a:p>
            <a:pPr lvl="1"/>
            <a:r>
              <a:rPr lang="en-GB" sz="3200" dirty="0"/>
              <a:t> </a:t>
            </a:r>
            <a:r>
              <a:rPr lang="en-GB" sz="3200" dirty="0" err="1"/>
              <a:t>Juistheid</a:t>
            </a:r>
            <a:r>
              <a:rPr lang="en-GB" sz="3200" dirty="0"/>
              <a:t> </a:t>
            </a:r>
            <a:r>
              <a:rPr lang="en-GB" sz="3200" dirty="0" err="1"/>
              <a:t>verstrekte</a:t>
            </a:r>
            <a:r>
              <a:rPr lang="en-GB" sz="3200" dirty="0"/>
              <a:t> </a:t>
            </a:r>
            <a:r>
              <a:rPr lang="en-GB" sz="3200" dirty="0" err="1"/>
              <a:t>informatie</a:t>
            </a:r>
            <a:endParaRPr lang="en-GB" sz="3200" dirty="0"/>
          </a:p>
          <a:p>
            <a:pPr lvl="1"/>
            <a:r>
              <a:rPr lang="en-GB" sz="3200" dirty="0"/>
              <a:t> </a:t>
            </a:r>
            <a:r>
              <a:rPr lang="en-GB" sz="3200" dirty="0" err="1"/>
              <a:t>Nieuwswaarde</a:t>
            </a:r>
            <a:endParaRPr lang="en-GB" sz="3200" dirty="0"/>
          </a:p>
        </p:txBody>
      </p:sp>
      <p:pic>
        <p:nvPicPr>
          <p:cNvPr id="30724" name="Picture 4" descr="Ferdi E. verongelukt in Vorden | Foto | destentor.nl">
            <a:extLst>
              <a:ext uri="{FF2B5EF4-FFF2-40B4-BE49-F238E27FC236}">
                <a16:creationId xmlns:a16="http://schemas.microsoft.com/office/drawing/2014/main" id="{70458418-4B95-4D52-A524-8F614DA871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67526" y="1518953"/>
            <a:ext cx="5048250" cy="452363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4143168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Discodanser</a:t>
            </a:r>
            <a:r>
              <a:rPr lang="en-GB" altLang="en-US" dirty="0"/>
              <a:t> (1997)</a:t>
            </a:r>
            <a:endParaRPr lang="en-GB" dirty="0"/>
          </a:p>
        </p:txBody>
      </p:sp>
      <p:pic>
        <p:nvPicPr>
          <p:cNvPr id="15362" name="Picture 2" descr="Portretrecht voor iedereen.">
            <a:extLst>
              <a:ext uri="{FF2B5EF4-FFF2-40B4-BE49-F238E27FC236}">
                <a16:creationId xmlns:a16="http://schemas.microsoft.com/office/drawing/2014/main" id="{D075276C-B9D4-4926-856E-B01D83B6E3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57977" y="1015270"/>
            <a:ext cx="4095750" cy="5322395"/>
          </a:xfrm>
          <a:prstGeom prst="rect">
            <a:avLst/>
          </a:prstGeom>
          <a:noFill/>
          <a:extLst>
            <a:ext uri="{909E8E84-426E-40DD-AFC4-6F175D3DCCD1}">
              <a14:hiddenFill xmlns:a14="http://schemas.microsoft.com/office/drawing/2010/main">
                <a:solidFill>
                  <a:srgbClr val="FFFFFF"/>
                </a:solidFill>
              </a14:hiddenFill>
            </a:ext>
          </a:extLst>
        </p:spPr>
      </p:pic>
      <p:sp>
        <p:nvSpPr>
          <p:cNvPr id="4" name="Subtitle 1">
            <a:extLst>
              <a:ext uri="{FF2B5EF4-FFF2-40B4-BE49-F238E27FC236}">
                <a16:creationId xmlns:a16="http://schemas.microsoft.com/office/drawing/2014/main" id="{C7C7063C-5F6B-46A5-B394-5A05F836B47D}"/>
              </a:ext>
            </a:extLst>
          </p:cNvPr>
          <p:cNvSpPr txBox="1">
            <a:spLocks/>
          </p:cNvSpPr>
          <p:nvPr/>
        </p:nvSpPr>
        <p:spPr>
          <a:xfrm>
            <a:off x="576262" y="1518953"/>
            <a:ext cx="4957763" cy="283397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t>
            </a:r>
            <a:r>
              <a:rPr lang="en-GB" sz="3200" dirty="0" err="1"/>
              <a:t>Associatiegevaar</a:t>
            </a:r>
            <a:endParaRPr lang="en-GB" sz="3200" dirty="0"/>
          </a:p>
          <a:p>
            <a:pPr lvl="1"/>
            <a:r>
              <a:rPr lang="en-GB" sz="3200" dirty="0"/>
              <a:t> </a:t>
            </a:r>
            <a:r>
              <a:rPr lang="en-GB" sz="3200" dirty="0" err="1"/>
              <a:t>Reclamedoeleinden</a:t>
            </a:r>
            <a:endParaRPr lang="en-GB" sz="3200" dirty="0"/>
          </a:p>
        </p:txBody>
      </p:sp>
    </p:spTree>
    <p:custDataLst>
      <p:tags r:id="rId1"/>
    </p:custDataLst>
    <p:extLst>
      <p:ext uri="{BB962C8B-B14F-4D97-AF65-F5344CB8AC3E}">
        <p14:creationId xmlns:p14="http://schemas.microsoft.com/office/powerpoint/2010/main" val="3257105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Schipholfoto</a:t>
            </a:r>
            <a:endParaRPr lang="en-GB" dirty="0"/>
          </a:p>
        </p:txBody>
      </p:sp>
      <p:pic>
        <p:nvPicPr>
          <p:cNvPr id="3" name="Picture 2">
            <a:extLst>
              <a:ext uri="{FF2B5EF4-FFF2-40B4-BE49-F238E27FC236}">
                <a16:creationId xmlns:a16="http://schemas.microsoft.com/office/drawing/2014/main" id="{61186661-E9AE-4473-888C-0ECC715F4C91}"/>
              </a:ext>
            </a:extLst>
          </p:cNvPr>
          <p:cNvPicPr>
            <a:picLocks noChangeAspect="1"/>
          </p:cNvPicPr>
          <p:nvPr/>
        </p:nvPicPr>
        <p:blipFill>
          <a:blip r:embed="rId3"/>
          <a:stretch>
            <a:fillRect/>
          </a:stretch>
        </p:blipFill>
        <p:spPr>
          <a:xfrm>
            <a:off x="2282694" y="1015270"/>
            <a:ext cx="7199972" cy="5148025"/>
          </a:xfrm>
          <a:prstGeom prst="rect">
            <a:avLst/>
          </a:prstGeom>
        </p:spPr>
      </p:pic>
    </p:spTree>
    <p:custDataLst>
      <p:tags r:id="rId1"/>
    </p:custDataLst>
    <p:extLst>
      <p:ext uri="{BB962C8B-B14F-4D97-AF65-F5344CB8AC3E}">
        <p14:creationId xmlns:p14="http://schemas.microsoft.com/office/powerpoint/2010/main" val="25984331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Loeren</a:t>
            </a:r>
            <a:r>
              <a:rPr lang="en-GB" altLang="en-US" dirty="0"/>
              <a:t> </a:t>
            </a:r>
            <a:r>
              <a:rPr lang="en-GB" altLang="en-US" dirty="0" err="1"/>
              <a:t>naar</a:t>
            </a:r>
            <a:r>
              <a:rPr lang="en-GB" altLang="en-US" dirty="0"/>
              <a:t> de </a:t>
            </a:r>
            <a:r>
              <a:rPr lang="en-GB" altLang="en-US" dirty="0" err="1"/>
              <a:t>hoeren</a:t>
            </a:r>
            <a:endParaRPr lang="en-GB" dirty="0"/>
          </a:p>
        </p:txBody>
      </p:sp>
      <p:pic>
        <p:nvPicPr>
          <p:cNvPr id="18434" name="Picture 2" descr="Boek De Wallen Huub Prickaerts">
            <a:extLst>
              <a:ext uri="{FF2B5EF4-FFF2-40B4-BE49-F238E27FC236}">
                <a16:creationId xmlns:a16="http://schemas.microsoft.com/office/drawing/2014/main" id="{E64B155F-8D76-4331-BD31-22836C2183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8620" y="1015270"/>
            <a:ext cx="7727420" cy="502984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9136286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t </a:t>
            </a:r>
            <a:r>
              <a:rPr lang="en-GB" altLang="en-US" dirty="0" err="1"/>
              <a:t>Schaep</a:t>
            </a:r>
            <a:r>
              <a:rPr lang="en-GB" altLang="en-US" dirty="0"/>
              <a:t> met de </a:t>
            </a:r>
            <a:r>
              <a:rPr lang="en-GB" altLang="en-US" dirty="0" err="1"/>
              <a:t>vijf</a:t>
            </a:r>
            <a:r>
              <a:rPr lang="en-GB" altLang="en-US" dirty="0"/>
              <a:t> </a:t>
            </a:r>
            <a:r>
              <a:rPr lang="en-GB" altLang="en-US" dirty="0" err="1"/>
              <a:t>poten</a:t>
            </a:r>
            <a:r>
              <a:rPr lang="en-GB" altLang="en-US" dirty="0"/>
              <a:t> (1979)</a:t>
            </a:r>
            <a:endParaRPr lang="en-GB" dirty="0"/>
          </a:p>
        </p:txBody>
      </p:sp>
      <p:pic>
        <p:nvPicPr>
          <p:cNvPr id="14340" name="Picture 4" descr="Commercieel Portretrecht">
            <a:extLst>
              <a:ext uri="{FF2B5EF4-FFF2-40B4-BE49-F238E27FC236}">
                <a16:creationId xmlns:a16="http://schemas.microsoft.com/office/drawing/2014/main" id="{11699B61-65B9-44FF-BA0C-A7F02ECEFB0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24751" y="1225514"/>
            <a:ext cx="3581400" cy="5422941"/>
          </a:xfrm>
          <a:prstGeom prst="rect">
            <a:avLst/>
          </a:prstGeom>
          <a:noFill/>
          <a:extLst>
            <a:ext uri="{909E8E84-426E-40DD-AFC4-6F175D3DCCD1}">
              <a14:hiddenFill xmlns:a14="http://schemas.microsoft.com/office/drawing/2010/main">
                <a:solidFill>
                  <a:srgbClr val="FFFFFF"/>
                </a:solidFill>
              </a14:hiddenFill>
            </a:ext>
          </a:extLst>
        </p:spPr>
      </p:pic>
      <p:sp>
        <p:nvSpPr>
          <p:cNvPr id="6" name="Subtitle 1">
            <a:extLst>
              <a:ext uri="{FF2B5EF4-FFF2-40B4-BE49-F238E27FC236}">
                <a16:creationId xmlns:a16="http://schemas.microsoft.com/office/drawing/2014/main" id="{2FA50709-AC82-4466-A9ED-6ED89D60D486}"/>
              </a:ext>
            </a:extLst>
          </p:cNvPr>
          <p:cNvSpPr txBox="1">
            <a:spLocks/>
          </p:cNvSpPr>
          <p:nvPr/>
        </p:nvSpPr>
        <p:spPr>
          <a:xfrm>
            <a:off x="576262" y="1518953"/>
            <a:ext cx="6653213" cy="4822580"/>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nl-NL" sz="3200" dirty="0"/>
              <a:t>"</a:t>
            </a:r>
            <a:r>
              <a:rPr lang="nl-NL" sz="3200" i="1" dirty="0"/>
              <a:t>Het belang van de geportretteerden om dan in de voordelen van zulke exploitatie mee te kunnen delen door de openbaarmaking van hun portretten voor </a:t>
            </a:r>
            <a:r>
              <a:rPr lang="nl-NL" sz="3200" i="1" dirty="0" err="1"/>
              <a:t>commerciele</a:t>
            </a:r>
            <a:r>
              <a:rPr lang="nl-NL" sz="3200" i="1" dirty="0"/>
              <a:t> doeleinden niet te hoeven toelaten </a:t>
            </a:r>
            <a:r>
              <a:rPr lang="nl-NL" sz="3200" b="1" i="1" u="sng" dirty="0"/>
              <a:t>zonder daarvoor vergoeding te ontvangen</a:t>
            </a:r>
            <a:r>
              <a:rPr lang="nl-NL" sz="3200" i="1" dirty="0"/>
              <a:t>, is een redelijk belang in de zin van art. 21.</a:t>
            </a:r>
            <a:r>
              <a:rPr lang="nl-NL" sz="3200" dirty="0"/>
              <a:t>"</a:t>
            </a:r>
            <a:endParaRPr lang="en-GB" sz="3200" dirty="0"/>
          </a:p>
        </p:txBody>
      </p:sp>
    </p:spTree>
    <p:custDataLst>
      <p:tags r:id="rId1"/>
    </p:custDataLst>
    <p:extLst>
      <p:ext uri="{BB962C8B-B14F-4D97-AF65-F5344CB8AC3E}">
        <p14:creationId xmlns:p14="http://schemas.microsoft.com/office/powerpoint/2010/main" val="30159500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Reklos</a:t>
            </a:r>
            <a:r>
              <a:rPr lang="en-GB" altLang="en-US" dirty="0"/>
              <a:t> (2009)</a:t>
            </a:r>
            <a:endParaRPr lang="en-GB" dirty="0"/>
          </a:p>
        </p:txBody>
      </p:sp>
      <p:sp>
        <p:nvSpPr>
          <p:cNvPr id="3" name="Subtitle 1">
            <a:extLst>
              <a:ext uri="{FF2B5EF4-FFF2-40B4-BE49-F238E27FC236}">
                <a16:creationId xmlns:a16="http://schemas.microsoft.com/office/drawing/2014/main" id="{C37822F2-6F5D-4277-890D-D499D8C52DFA}"/>
              </a:ext>
            </a:extLst>
          </p:cNvPr>
          <p:cNvSpPr txBox="1">
            <a:spLocks/>
          </p:cNvSpPr>
          <p:nvPr/>
        </p:nvSpPr>
        <p:spPr>
          <a:xfrm>
            <a:off x="576263" y="1518953"/>
            <a:ext cx="6333823" cy="4071619"/>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a:t>"</a:t>
            </a:r>
            <a:r>
              <a:rPr lang="en-GB" sz="3200" i="1" dirty="0"/>
              <a:t>As a person's image is one of the characteristics attached to his or her personality, its effective protection presupposes, (...), obtaining the </a:t>
            </a:r>
            <a:r>
              <a:rPr lang="en-GB" sz="3200" b="1" i="1" u="sng" dirty="0"/>
              <a:t>consent of the person concerned </a:t>
            </a:r>
            <a:r>
              <a:rPr lang="en-GB" sz="3200" i="1" dirty="0"/>
              <a:t>at the time the picture is taken and not simply if and when it is published." </a:t>
            </a:r>
            <a:endParaRPr lang="en-GB" sz="3200" dirty="0"/>
          </a:p>
        </p:txBody>
      </p:sp>
      <p:pic>
        <p:nvPicPr>
          <p:cNvPr id="13314" name="Picture 2" descr="De ontwikkeling van een baby in een couveuse | Ouders van Nu">
            <a:extLst>
              <a:ext uri="{FF2B5EF4-FFF2-40B4-BE49-F238E27FC236}">
                <a16:creationId xmlns:a16="http://schemas.microsoft.com/office/drawing/2014/main" id="{1942F40D-A7C2-4038-9DDD-66B9F31A99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3706" y="1474925"/>
            <a:ext cx="4051139" cy="411564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7746009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Caroline von Hannover II (2012)</a:t>
            </a:r>
            <a:endParaRPr lang="en-GB" dirty="0"/>
          </a:p>
        </p:txBody>
      </p:sp>
      <p:sp>
        <p:nvSpPr>
          <p:cNvPr id="3" name="Subtitle 1">
            <a:extLst>
              <a:ext uri="{FF2B5EF4-FFF2-40B4-BE49-F238E27FC236}">
                <a16:creationId xmlns:a16="http://schemas.microsoft.com/office/drawing/2014/main" id="{C37822F2-6F5D-4277-890D-D499D8C52DFA}"/>
              </a:ext>
            </a:extLst>
          </p:cNvPr>
          <p:cNvSpPr txBox="1">
            <a:spLocks/>
          </p:cNvSpPr>
          <p:nvPr/>
        </p:nvSpPr>
        <p:spPr>
          <a:xfrm>
            <a:off x="576264" y="1518953"/>
            <a:ext cx="5870836" cy="4071619"/>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a:t>"</a:t>
            </a:r>
            <a:r>
              <a:rPr lang="en-GB" sz="3200" i="1" dirty="0"/>
              <a:t>The right of the protection of one's image is thus one of the essential components of personal development. It mainly presupposes </a:t>
            </a:r>
            <a:r>
              <a:rPr lang="en-GB" sz="3200" b="1" i="1" u="sng" dirty="0"/>
              <a:t>the individual's right to control </a:t>
            </a:r>
            <a:r>
              <a:rPr lang="en-GB" sz="3200" i="1" dirty="0"/>
              <a:t>the use of that image, including the right to refuse publication thereof." </a:t>
            </a:r>
            <a:endParaRPr lang="en-GB" sz="3200" dirty="0"/>
          </a:p>
        </p:txBody>
      </p:sp>
      <p:pic>
        <p:nvPicPr>
          <p:cNvPr id="47106" name="Picture 2" descr="Europees Hof komt met Von Hannover II arrest - meer lucht voor  entertainment pers - Mediareport">
            <a:extLst>
              <a:ext uri="{FF2B5EF4-FFF2-40B4-BE49-F238E27FC236}">
                <a16:creationId xmlns:a16="http://schemas.microsoft.com/office/drawing/2014/main" id="{74B6DF1A-C3FA-434F-BEB4-CA3EDD742A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7900" y="1194493"/>
            <a:ext cx="4223795" cy="491422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1682175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Cruijff</a:t>
            </a:r>
            <a:r>
              <a:rPr lang="en-GB" altLang="en-US" dirty="0"/>
              <a:t> / </a:t>
            </a:r>
            <a:r>
              <a:rPr lang="en-GB" altLang="en-US" dirty="0" err="1"/>
              <a:t>Tirion</a:t>
            </a:r>
            <a:r>
              <a:rPr lang="en-GB" altLang="en-US" dirty="0"/>
              <a:t> (2013)</a:t>
            </a:r>
            <a:endParaRPr lang="en-GB" dirty="0"/>
          </a:p>
        </p:txBody>
      </p:sp>
      <p:pic>
        <p:nvPicPr>
          <p:cNvPr id="1026" name="Picture 2">
            <a:extLst>
              <a:ext uri="{FF2B5EF4-FFF2-40B4-BE49-F238E27FC236}">
                <a16:creationId xmlns:a16="http://schemas.microsoft.com/office/drawing/2014/main" id="{F7A044CB-5EDB-4E99-8EE2-7E3A6B8984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7651" y="1120743"/>
            <a:ext cx="5058035" cy="531816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Johan Cruijff, J. Derksen | 9789081165419 | Boeken | bol.com">
            <a:extLst>
              <a:ext uri="{FF2B5EF4-FFF2-40B4-BE49-F238E27FC236}">
                <a16:creationId xmlns:a16="http://schemas.microsoft.com/office/drawing/2014/main" id="{F6B87ACA-F5F0-46ED-B10D-6B4441CCDB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70070" y="1120743"/>
            <a:ext cx="3930762" cy="53181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298080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Redelijke</a:t>
            </a:r>
            <a:r>
              <a:rPr lang="en-GB" altLang="en-US" dirty="0"/>
              <a:t> </a:t>
            </a:r>
            <a:r>
              <a:rPr lang="en-GB" altLang="en-US" dirty="0" err="1"/>
              <a:t>vergoeding</a:t>
            </a:r>
            <a:endParaRPr lang="en-GB" dirty="0"/>
          </a:p>
        </p:txBody>
      </p:sp>
      <p:sp>
        <p:nvSpPr>
          <p:cNvPr id="4" name="Subtitle 1">
            <a:extLst>
              <a:ext uri="{FF2B5EF4-FFF2-40B4-BE49-F238E27FC236}">
                <a16:creationId xmlns:a16="http://schemas.microsoft.com/office/drawing/2014/main" id="{8CF705BA-4EAF-4075-BAF7-6F8010A38D01}"/>
              </a:ext>
            </a:extLst>
          </p:cNvPr>
          <p:cNvSpPr txBox="1">
            <a:spLocks/>
          </p:cNvSpPr>
          <p:nvPr/>
        </p:nvSpPr>
        <p:spPr>
          <a:xfrm>
            <a:off x="576262" y="1518953"/>
            <a:ext cx="9672638" cy="4881847"/>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t>
            </a:r>
            <a:r>
              <a:rPr lang="en-GB" sz="3200" dirty="0" err="1"/>
              <a:t>Indien</a:t>
            </a:r>
            <a:r>
              <a:rPr lang="en-GB" sz="3200" dirty="0"/>
              <a:t> </a:t>
            </a:r>
            <a:r>
              <a:rPr lang="en-GB" sz="3200" dirty="0" err="1"/>
              <a:t>enkel</a:t>
            </a:r>
            <a:r>
              <a:rPr lang="en-GB" sz="3200" dirty="0"/>
              <a:t> </a:t>
            </a:r>
            <a:r>
              <a:rPr lang="en-GB" sz="3200" dirty="0" err="1"/>
              <a:t>sprake</a:t>
            </a:r>
            <a:r>
              <a:rPr lang="en-GB" sz="3200" dirty="0"/>
              <a:t> van </a:t>
            </a:r>
            <a:r>
              <a:rPr lang="en-GB" sz="3200" dirty="0" err="1"/>
              <a:t>een</a:t>
            </a:r>
            <a:r>
              <a:rPr lang="en-GB" sz="3200" dirty="0"/>
              <a:t> </a:t>
            </a:r>
            <a:r>
              <a:rPr lang="en-GB" sz="3200" b="1" u="sng" dirty="0" err="1"/>
              <a:t>commercieel</a:t>
            </a:r>
            <a:r>
              <a:rPr lang="en-GB" sz="3200" b="1" u="sng" dirty="0"/>
              <a:t> </a:t>
            </a:r>
            <a:r>
              <a:rPr lang="en-GB" sz="3200" b="1" u="sng" dirty="0" err="1"/>
              <a:t>belang</a:t>
            </a:r>
            <a:r>
              <a:rPr lang="en-GB" sz="3200" b="1" u="sng" dirty="0"/>
              <a:t> </a:t>
            </a:r>
            <a:r>
              <a:rPr lang="en-GB" sz="3200" dirty="0"/>
              <a:t>en </a:t>
            </a:r>
            <a:r>
              <a:rPr lang="en-GB" sz="3200" dirty="0" err="1"/>
              <a:t>geen</a:t>
            </a:r>
            <a:r>
              <a:rPr lang="en-GB" sz="3200" dirty="0"/>
              <a:t> </a:t>
            </a:r>
            <a:r>
              <a:rPr lang="en-GB" sz="3200" dirty="0" err="1"/>
              <a:t>sprake</a:t>
            </a:r>
            <a:r>
              <a:rPr lang="en-GB" sz="3200" dirty="0"/>
              <a:t> van </a:t>
            </a:r>
            <a:r>
              <a:rPr lang="en-GB" sz="3200" b="1" u="sng" dirty="0" err="1"/>
              <a:t>omstandigheden</a:t>
            </a:r>
            <a:r>
              <a:rPr lang="en-GB" sz="3200" b="1" u="sng" dirty="0"/>
              <a:t> om </a:t>
            </a:r>
            <a:r>
              <a:rPr lang="en-GB" sz="3200" b="1" u="sng" dirty="0" err="1"/>
              <a:t>aan</a:t>
            </a:r>
            <a:r>
              <a:rPr lang="en-GB" sz="3200" b="1" u="sng" dirty="0"/>
              <a:t> </a:t>
            </a:r>
            <a:r>
              <a:rPr lang="en-GB" sz="3200" b="1" u="sng" dirty="0" err="1"/>
              <a:t>dat</a:t>
            </a:r>
            <a:r>
              <a:rPr lang="en-GB" sz="3200" b="1" u="sng" dirty="0"/>
              <a:t> </a:t>
            </a:r>
            <a:r>
              <a:rPr lang="en-GB" sz="3200" b="1" u="sng" dirty="0" err="1"/>
              <a:t>belang</a:t>
            </a:r>
            <a:r>
              <a:rPr lang="en-GB" sz="3200" b="1" u="sng" dirty="0"/>
              <a:t> </a:t>
            </a:r>
            <a:r>
              <a:rPr lang="en-GB" sz="3200" b="1" u="sng" dirty="0" err="1"/>
              <a:t>voorbij</a:t>
            </a:r>
            <a:r>
              <a:rPr lang="en-GB" sz="3200" b="1" u="sng" dirty="0"/>
              <a:t> te </a:t>
            </a:r>
            <a:r>
              <a:rPr lang="en-GB" sz="3200" b="1" u="sng" dirty="0" err="1"/>
              <a:t>gaan</a:t>
            </a:r>
            <a:r>
              <a:rPr lang="en-GB" sz="3200" dirty="0"/>
              <a:t>, dan </a:t>
            </a:r>
            <a:r>
              <a:rPr lang="en-GB" sz="3200" dirty="0" err="1"/>
              <a:t>kan</a:t>
            </a:r>
            <a:r>
              <a:rPr lang="en-GB" sz="3200" dirty="0"/>
              <a:t> </a:t>
            </a:r>
            <a:r>
              <a:rPr lang="en-GB" sz="3200" dirty="0" err="1"/>
              <a:t>een</a:t>
            </a:r>
            <a:r>
              <a:rPr lang="en-GB" sz="3200" dirty="0"/>
              <a:t> </a:t>
            </a:r>
            <a:r>
              <a:rPr lang="en-GB" sz="3200" dirty="0" err="1"/>
              <a:t>belangrijke</a:t>
            </a:r>
            <a:r>
              <a:rPr lang="en-GB" sz="3200" dirty="0"/>
              <a:t> </a:t>
            </a:r>
            <a:r>
              <a:rPr lang="en-GB" sz="3200" dirty="0" err="1"/>
              <a:t>rol</a:t>
            </a:r>
            <a:r>
              <a:rPr lang="en-GB" sz="3200" dirty="0"/>
              <a:t> </a:t>
            </a:r>
            <a:r>
              <a:rPr lang="en-GB" sz="3200" dirty="0" err="1"/>
              <a:t>spelen</a:t>
            </a:r>
            <a:r>
              <a:rPr lang="en-GB" sz="3200" dirty="0"/>
              <a:t> of </a:t>
            </a:r>
            <a:r>
              <a:rPr lang="en-GB" sz="3200" dirty="0" err="1"/>
              <a:t>een</a:t>
            </a:r>
            <a:r>
              <a:rPr lang="en-GB" sz="3200" dirty="0"/>
              <a:t> </a:t>
            </a:r>
            <a:r>
              <a:rPr lang="en-GB" sz="3200" b="1" u="sng" dirty="0" err="1"/>
              <a:t>redelijke</a:t>
            </a:r>
            <a:r>
              <a:rPr lang="en-GB" sz="3200" b="1" u="sng" dirty="0"/>
              <a:t> </a:t>
            </a:r>
            <a:r>
              <a:rPr lang="en-GB" sz="3200" b="1" u="sng" dirty="0" err="1"/>
              <a:t>vergoeding</a:t>
            </a:r>
            <a:r>
              <a:rPr lang="en-GB" sz="3200" dirty="0"/>
              <a:t> is </a:t>
            </a:r>
            <a:r>
              <a:rPr lang="en-GB" sz="3200" dirty="0" err="1"/>
              <a:t>aangeboden</a:t>
            </a:r>
            <a:endParaRPr lang="en-GB" sz="3200" dirty="0"/>
          </a:p>
          <a:p>
            <a:pPr lvl="1"/>
            <a:r>
              <a:rPr lang="en-GB" sz="3200" dirty="0"/>
              <a:t> </a:t>
            </a:r>
            <a:r>
              <a:rPr lang="en-GB" sz="3200" dirty="0" err="1"/>
              <a:t>Journalistieke</a:t>
            </a:r>
            <a:r>
              <a:rPr lang="en-GB" sz="3200" dirty="0"/>
              <a:t> </a:t>
            </a:r>
            <a:r>
              <a:rPr lang="en-GB" sz="3200" dirty="0" err="1"/>
              <a:t>verslaglegging</a:t>
            </a:r>
            <a:endParaRPr lang="en-GB" sz="3200" dirty="0"/>
          </a:p>
          <a:p>
            <a:pPr lvl="1"/>
            <a:r>
              <a:rPr lang="en-GB" sz="3200" dirty="0"/>
              <a:t> </a:t>
            </a:r>
            <a:r>
              <a:rPr lang="en-GB" sz="3200" dirty="0" err="1"/>
              <a:t>Informatieve</a:t>
            </a:r>
            <a:r>
              <a:rPr lang="en-GB" sz="3200" dirty="0"/>
              <a:t> </a:t>
            </a:r>
            <a:r>
              <a:rPr lang="en-GB" sz="3200" dirty="0" err="1"/>
              <a:t>waarde</a:t>
            </a:r>
            <a:r>
              <a:rPr lang="en-GB" sz="3200" dirty="0"/>
              <a:t> </a:t>
            </a:r>
          </a:p>
          <a:p>
            <a:pPr lvl="1"/>
            <a:r>
              <a:rPr lang="en-GB" sz="3200" dirty="0"/>
              <a:t> </a:t>
            </a:r>
            <a:r>
              <a:rPr lang="en-GB" sz="3200" dirty="0" err="1"/>
              <a:t>Actualiteit</a:t>
            </a:r>
            <a:endParaRPr lang="en-GB" sz="3200" dirty="0"/>
          </a:p>
          <a:p>
            <a:pPr lvl="1"/>
            <a:r>
              <a:rPr lang="en-GB" sz="3200" dirty="0" err="1"/>
              <a:t>Soort</a:t>
            </a:r>
            <a:r>
              <a:rPr lang="en-GB" sz="3200" dirty="0"/>
              <a:t> </a:t>
            </a:r>
            <a:r>
              <a:rPr lang="en-GB" sz="3200" dirty="0" err="1"/>
              <a:t>dwanglicentie</a:t>
            </a:r>
            <a:r>
              <a:rPr lang="en-GB" sz="3200" dirty="0"/>
              <a:t>?</a:t>
            </a:r>
          </a:p>
          <a:p>
            <a:pPr lvl="1"/>
            <a:endParaRPr lang="en-GB" sz="3200" dirty="0"/>
          </a:p>
          <a:p>
            <a:pPr marL="0" lvl="1" indent="0">
              <a:buNone/>
            </a:pPr>
            <a:endParaRPr lang="en-GB" sz="3200" dirty="0"/>
          </a:p>
          <a:p>
            <a:pPr lvl="1"/>
            <a:endParaRPr lang="en-GB" sz="3200" dirty="0"/>
          </a:p>
          <a:p>
            <a:pPr lvl="1"/>
            <a:endParaRPr lang="en-GB" sz="3200" dirty="0"/>
          </a:p>
        </p:txBody>
      </p:sp>
      <p:pic>
        <p:nvPicPr>
          <p:cNvPr id="6146" name="Picture 2" descr="De Coup Van Cruijff, Menno de Galan | 9789400403017 | Boeken | bol.com">
            <a:extLst>
              <a:ext uri="{FF2B5EF4-FFF2-40B4-BE49-F238E27FC236}">
                <a16:creationId xmlns:a16="http://schemas.microsoft.com/office/drawing/2014/main" id="{02520F4A-DFFE-4AEE-AAA2-7B2B5C3DFC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84988" y="3584212"/>
            <a:ext cx="1926876" cy="3054717"/>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De coup van Cruijff (ebook), Menno de Galan | 9789400402164 | Boeken |  bol.com">
            <a:extLst>
              <a:ext uri="{FF2B5EF4-FFF2-40B4-BE49-F238E27FC236}">
                <a16:creationId xmlns:a16="http://schemas.microsoft.com/office/drawing/2014/main" id="{D3A50A03-6375-4429-8AC2-47E9D434027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07230" y="3590924"/>
            <a:ext cx="1926876" cy="304800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4902229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Hoogte</a:t>
            </a:r>
            <a:r>
              <a:rPr lang="en-GB" altLang="en-US" dirty="0"/>
              <a:t> </a:t>
            </a:r>
            <a:r>
              <a:rPr lang="en-GB" altLang="en-US" dirty="0" err="1"/>
              <a:t>vergoeding</a:t>
            </a:r>
            <a:endParaRPr lang="en-GB" dirty="0"/>
          </a:p>
        </p:txBody>
      </p:sp>
      <p:sp>
        <p:nvSpPr>
          <p:cNvPr id="3" name="Subtitle 1">
            <a:extLst>
              <a:ext uri="{FF2B5EF4-FFF2-40B4-BE49-F238E27FC236}">
                <a16:creationId xmlns:a16="http://schemas.microsoft.com/office/drawing/2014/main" id="{8194ABF8-6AD0-420E-99D5-F6094BE806F0}"/>
              </a:ext>
            </a:extLst>
          </p:cNvPr>
          <p:cNvSpPr txBox="1">
            <a:spLocks/>
          </p:cNvSpPr>
          <p:nvPr/>
        </p:nvSpPr>
        <p:spPr>
          <a:xfrm>
            <a:off x="576262" y="1518953"/>
            <a:ext cx="6262688" cy="3938872"/>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Moet </a:t>
            </a:r>
            <a:r>
              <a:rPr lang="en-GB" sz="3200" dirty="0" err="1"/>
              <a:t>recht</a:t>
            </a:r>
            <a:r>
              <a:rPr lang="en-GB" sz="3200" dirty="0"/>
              <a:t> </a:t>
            </a:r>
            <a:r>
              <a:rPr lang="en-GB" sz="3200" dirty="0" err="1"/>
              <a:t>doen</a:t>
            </a:r>
            <a:r>
              <a:rPr lang="en-GB" sz="3200" dirty="0"/>
              <a:t> </a:t>
            </a:r>
            <a:r>
              <a:rPr lang="en-GB" sz="3200" dirty="0" err="1"/>
              <a:t>aan</a:t>
            </a:r>
            <a:r>
              <a:rPr lang="en-GB" sz="3200" dirty="0"/>
              <a:t> de </a:t>
            </a:r>
            <a:r>
              <a:rPr lang="en-GB" sz="3200" b="1" u="sng" dirty="0"/>
              <a:t>mate van </a:t>
            </a:r>
            <a:r>
              <a:rPr lang="en-GB" sz="3200" b="1" u="sng" dirty="0" err="1"/>
              <a:t>populariteit</a:t>
            </a:r>
            <a:r>
              <a:rPr lang="en-GB" sz="3200" b="1" u="sng" dirty="0"/>
              <a:t> of </a:t>
            </a:r>
            <a:r>
              <a:rPr lang="en-GB" sz="3200" b="1" u="sng" dirty="0" err="1"/>
              <a:t>bekendheid</a:t>
            </a:r>
            <a:r>
              <a:rPr lang="en-GB" sz="3200" dirty="0"/>
              <a:t> van de </a:t>
            </a:r>
            <a:r>
              <a:rPr lang="en-GB" sz="3200" dirty="0" err="1"/>
              <a:t>geportretteerde</a:t>
            </a:r>
            <a:endParaRPr lang="en-GB" sz="3200" dirty="0"/>
          </a:p>
          <a:p>
            <a:pPr lvl="1"/>
            <a:r>
              <a:rPr lang="en-GB" sz="3200" dirty="0"/>
              <a:t>In </a:t>
            </a:r>
            <a:r>
              <a:rPr lang="en-GB" sz="3200" dirty="0" err="1"/>
              <a:t>overeenstemming</a:t>
            </a:r>
            <a:r>
              <a:rPr lang="en-GB" sz="3200" dirty="0"/>
              <a:t> met de </a:t>
            </a:r>
            <a:r>
              <a:rPr lang="en-GB" sz="3200" b="1" u="sng" dirty="0" err="1"/>
              <a:t>waarde</a:t>
            </a:r>
            <a:r>
              <a:rPr lang="en-GB" sz="3200" b="1" u="sng" dirty="0"/>
              <a:t> in het </a:t>
            </a:r>
            <a:r>
              <a:rPr lang="en-GB" sz="3200" b="1" u="sng" dirty="0" err="1"/>
              <a:t>economisch</a:t>
            </a:r>
            <a:r>
              <a:rPr lang="en-GB" sz="3200" b="1" u="sng" dirty="0"/>
              <a:t> </a:t>
            </a:r>
            <a:r>
              <a:rPr lang="en-GB" sz="3200" b="1" u="sng" dirty="0" err="1"/>
              <a:t>verkeer</a:t>
            </a:r>
            <a:endParaRPr lang="en-GB" sz="3200" b="1" u="sng" dirty="0"/>
          </a:p>
          <a:p>
            <a:pPr lvl="1"/>
            <a:endParaRPr lang="en-GB" sz="3200" dirty="0"/>
          </a:p>
        </p:txBody>
      </p:sp>
      <p:pic>
        <p:nvPicPr>
          <p:cNvPr id="38916" name="Picture 4" descr="Van Gaal eist ton voor gebruik Portretrecht">
            <a:extLst>
              <a:ext uri="{FF2B5EF4-FFF2-40B4-BE49-F238E27FC236}">
                <a16:creationId xmlns:a16="http://schemas.microsoft.com/office/drawing/2014/main" id="{BA19F036-AADE-429F-82D5-DB640592E7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8950" y="1149857"/>
            <a:ext cx="4286250" cy="541287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699468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Artikel 21 Aw</a:t>
            </a:r>
            <a:endParaRPr lang="en-GB" dirty="0"/>
          </a:p>
        </p:txBody>
      </p:sp>
      <p:sp>
        <p:nvSpPr>
          <p:cNvPr id="3" name="Subtitle 1">
            <a:extLst>
              <a:ext uri="{FF2B5EF4-FFF2-40B4-BE49-F238E27FC236}">
                <a16:creationId xmlns:a16="http://schemas.microsoft.com/office/drawing/2014/main" id="{F51146AA-C017-4470-986E-3DE12BA91B2E}"/>
              </a:ext>
            </a:extLst>
          </p:cNvPr>
          <p:cNvSpPr txBox="1">
            <a:spLocks/>
          </p:cNvSpPr>
          <p:nvPr/>
        </p:nvSpPr>
        <p:spPr>
          <a:xfrm>
            <a:off x="576262" y="1518953"/>
            <a:ext cx="9377363"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endParaRPr lang="en-GB" sz="3200" dirty="0"/>
          </a:p>
        </p:txBody>
      </p:sp>
      <p:sp>
        <p:nvSpPr>
          <p:cNvPr id="8" name="Subtitle 1">
            <a:extLst>
              <a:ext uri="{FF2B5EF4-FFF2-40B4-BE49-F238E27FC236}">
                <a16:creationId xmlns:a16="http://schemas.microsoft.com/office/drawing/2014/main" id="{A6814610-3C5C-4966-8123-85C2F2DEF166}"/>
              </a:ext>
            </a:extLst>
          </p:cNvPr>
          <p:cNvSpPr txBox="1">
            <a:spLocks/>
          </p:cNvSpPr>
          <p:nvPr/>
        </p:nvSpPr>
        <p:spPr>
          <a:xfrm>
            <a:off x="728662" y="1671353"/>
            <a:ext cx="9729788" cy="4309204"/>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nl-NL" sz="3200" dirty="0"/>
              <a:t>Is een </a:t>
            </a:r>
            <a:r>
              <a:rPr lang="nl-NL" sz="3200" b="1" u="sng" dirty="0"/>
              <a:t>portret</a:t>
            </a:r>
            <a:r>
              <a:rPr lang="nl-NL" sz="3200" dirty="0"/>
              <a:t> vervaardigd zonder daartoe strekkende opdracht, den maker door of vanwege den geportretteerde, of te diens behoeve, gegeven, dan is openbaarmaking daarvan door </a:t>
            </a:r>
            <a:r>
              <a:rPr lang="nl-NL" sz="3200" dirty="0" err="1"/>
              <a:t>dengene</a:t>
            </a:r>
            <a:r>
              <a:rPr lang="nl-NL" sz="3200" dirty="0"/>
              <a:t>, </a:t>
            </a:r>
            <a:r>
              <a:rPr lang="nl-NL" sz="3200" dirty="0" err="1"/>
              <a:t>wien</a:t>
            </a:r>
            <a:r>
              <a:rPr lang="nl-NL" sz="3200" dirty="0"/>
              <a:t> het auteursrecht daarop toekomt, niet geoorloofd, voor </a:t>
            </a:r>
            <a:r>
              <a:rPr lang="nl-NL" sz="3200" dirty="0" err="1"/>
              <a:t>zoover</a:t>
            </a:r>
            <a:r>
              <a:rPr lang="nl-NL" sz="3200" dirty="0"/>
              <a:t> een </a:t>
            </a:r>
            <a:r>
              <a:rPr lang="nl-NL" sz="3200" b="1" u="sng" dirty="0"/>
              <a:t>redelijk belang </a:t>
            </a:r>
            <a:r>
              <a:rPr lang="nl-NL" sz="3200" dirty="0"/>
              <a:t>van den geportretteerde of, na zijn overlijden, van een zijner nabestaanden zich tegen de openbaarmaking verzet.</a:t>
            </a:r>
          </a:p>
          <a:p>
            <a:pPr lvl="1"/>
            <a:endParaRPr lang="en-GB" sz="3200" dirty="0"/>
          </a:p>
        </p:txBody>
      </p:sp>
    </p:spTree>
    <p:custDataLst>
      <p:tags r:id="rId1"/>
    </p:custDataLst>
    <p:extLst>
      <p:ext uri="{BB962C8B-B14F-4D97-AF65-F5344CB8AC3E}">
        <p14:creationId xmlns:p14="http://schemas.microsoft.com/office/powerpoint/2010/main" val="3007254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Bijkomende</a:t>
            </a:r>
            <a:r>
              <a:rPr lang="en-GB" altLang="en-US" dirty="0"/>
              <a:t> </a:t>
            </a:r>
            <a:r>
              <a:rPr lang="en-GB" altLang="en-US" dirty="0" err="1"/>
              <a:t>omstandigheden</a:t>
            </a:r>
            <a:endParaRPr lang="en-GB" dirty="0"/>
          </a:p>
        </p:txBody>
      </p:sp>
      <p:sp>
        <p:nvSpPr>
          <p:cNvPr id="4" name="Subtitle 1">
            <a:extLst>
              <a:ext uri="{FF2B5EF4-FFF2-40B4-BE49-F238E27FC236}">
                <a16:creationId xmlns:a16="http://schemas.microsoft.com/office/drawing/2014/main" id="{8CF705BA-4EAF-4075-BAF7-6F8010A38D01}"/>
              </a:ext>
            </a:extLst>
          </p:cNvPr>
          <p:cNvSpPr txBox="1">
            <a:spLocks/>
          </p:cNvSpPr>
          <p:nvPr/>
        </p:nvSpPr>
        <p:spPr>
          <a:xfrm>
            <a:off x="576262" y="1518953"/>
            <a:ext cx="8415338" cy="5186647"/>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t>
            </a:r>
            <a:r>
              <a:rPr lang="en-GB" sz="3200" b="1" u="sng" dirty="0" err="1"/>
              <a:t>Bijkomende</a:t>
            </a:r>
            <a:r>
              <a:rPr lang="en-GB" sz="3200" b="1" u="sng" dirty="0"/>
              <a:t> </a:t>
            </a:r>
            <a:r>
              <a:rPr lang="en-GB" sz="3200" b="1" u="sng" dirty="0" err="1"/>
              <a:t>omstandigheden</a:t>
            </a:r>
            <a:r>
              <a:rPr lang="en-GB" sz="3200" b="1" u="sng" dirty="0"/>
              <a:t> </a:t>
            </a:r>
            <a:r>
              <a:rPr lang="en-GB" sz="3200" dirty="0" err="1"/>
              <a:t>kunnen</a:t>
            </a:r>
            <a:r>
              <a:rPr lang="en-GB" sz="3200" dirty="0"/>
              <a:t> </a:t>
            </a:r>
            <a:r>
              <a:rPr lang="en-GB" sz="3200" dirty="0" err="1"/>
              <a:t>meebrengen</a:t>
            </a:r>
            <a:r>
              <a:rPr lang="en-GB" sz="3200" dirty="0"/>
              <a:t> </a:t>
            </a:r>
            <a:r>
              <a:rPr lang="en-GB" sz="3200" dirty="0" err="1"/>
              <a:t>dat</a:t>
            </a:r>
            <a:r>
              <a:rPr lang="en-GB" sz="3200" dirty="0"/>
              <a:t> </a:t>
            </a:r>
            <a:r>
              <a:rPr lang="en-GB" sz="3200" dirty="0" err="1"/>
              <a:t>publicatie</a:t>
            </a:r>
            <a:r>
              <a:rPr lang="en-GB" sz="3200" dirty="0"/>
              <a:t> </a:t>
            </a:r>
            <a:r>
              <a:rPr lang="en-GB" sz="3200" dirty="0" err="1"/>
              <a:t>onrechtmatig</a:t>
            </a:r>
            <a:r>
              <a:rPr lang="en-GB" sz="3200" dirty="0"/>
              <a:t> is </a:t>
            </a:r>
            <a:r>
              <a:rPr lang="en-GB" sz="3200" dirty="0" err="1"/>
              <a:t>ondanks</a:t>
            </a:r>
            <a:r>
              <a:rPr lang="en-GB" sz="3200" dirty="0"/>
              <a:t> </a:t>
            </a:r>
            <a:r>
              <a:rPr lang="en-GB" sz="3200" dirty="0" err="1"/>
              <a:t>aanbod</a:t>
            </a:r>
            <a:r>
              <a:rPr lang="en-GB" sz="3200" dirty="0"/>
              <a:t> </a:t>
            </a:r>
            <a:r>
              <a:rPr lang="en-GB" sz="3200" dirty="0" err="1"/>
              <a:t>redelijke</a:t>
            </a:r>
            <a:r>
              <a:rPr lang="en-GB" sz="3200" dirty="0"/>
              <a:t> </a:t>
            </a:r>
            <a:r>
              <a:rPr lang="en-GB" sz="3200" dirty="0" err="1"/>
              <a:t>vergoeding</a:t>
            </a:r>
            <a:endParaRPr lang="en-GB" sz="3200" dirty="0"/>
          </a:p>
          <a:p>
            <a:pPr lvl="1"/>
            <a:r>
              <a:rPr lang="en-GB" sz="3200" dirty="0"/>
              <a:t> </a:t>
            </a:r>
            <a:r>
              <a:rPr lang="en-GB" sz="3200" dirty="0" err="1"/>
              <a:t>Publicatie</a:t>
            </a:r>
            <a:r>
              <a:rPr lang="en-GB" sz="3200" dirty="0"/>
              <a:t> </a:t>
            </a:r>
            <a:r>
              <a:rPr lang="en-GB" sz="3200" dirty="0" err="1"/>
              <a:t>doet</a:t>
            </a:r>
            <a:r>
              <a:rPr lang="en-GB" sz="3200" dirty="0"/>
              <a:t> </a:t>
            </a:r>
            <a:r>
              <a:rPr lang="en-GB" sz="3200" dirty="0" err="1"/>
              <a:t>afbreuk</a:t>
            </a:r>
            <a:r>
              <a:rPr lang="en-GB" sz="3200" dirty="0"/>
              <a:t> of is </a:t>
            </a:r>
            <a:r>
              <a:rPr lang="en-GB" sz="3200" dirty="0" err="1"/>
              <a:t>schadelijk</a:t>
            </a:r>
            <a:r>
              <a:rPr lang="en-GB" sz="3200" dirty="0"/>
              <a:t> voor de </a:t>
            </a:r>
            <a:r>
              <a:rPr lang="en-GB" sz="3200" b="1" u="sng" dirty="0" err="1"/>
              <a:t>wijze</a:t>
            </a:r>
            <a:r>
              <a:rPr lang="en-GB" sz="3200" b="1" u="sng" dirty="0"/>
              <a:t> </a:t>
            </a:r>
            <a:r>
              <a:rPr lang="en-GB" sz="3200" b="1" u="sng" dirty="0" err="1"/>
              <a:t>waarop</a:t>
            </a:r>
            <a:r>
              <a:rPr lang="en-GB" sz="3200" b="1" u="sng" dirty="0"/>
              <a:t> de </a:t>
            </a:r>
            <a:r>
              <a:rPr lang="en-GB" sz="3200" b="1" u="sng" dirty="0" err="1"/>
              <a:t>geportretteerde</a:t>
            </a:r>
            <a:r>
              <a:rPr lang="en-GB" sz="3200" b="1" u="sng" dirty="0"/>
              <a:t> </a:t>
            </a:r>
            <a:r>
              <a:rPr lang="en-GB" sz="3200" b="1" u="sng" dirty="0" err="1"/>
              <a:t>zijn</a:t>
            </a:r>
            <a:r>
              <a:rPr lang="en-GB" sz="3200" b="1" u="sng" dirty="0"/>
              <a:t> </a:t>
            </a:r>
            <a:r>
              <a:rPr lang="en-GB" sz="3200" b="1" u="sng" dirty="0" err="1"/>
              <a:t>bekendheid</a:t>
            </a:r>
            <a:r>
              <a:rPr lang="en-GB" sz="3200" b="1" u="sng" dirty="0"/>
              <a:t> </a:t>
            </a:r>
            <a:r>
              <a:rPr lang="en-GB" sz="3200" b="1" u="sng" dirty="0" err="1"/>
              <a:t>wenst</a:t>
            </a:r>
            <a:r>
              <a:rPr lang="en-GB" sz="3200" b="1" u="sng" dirty="0"/>
              <a:t> te </a:t>
            </a:r>
            <a:r>
              <a:rPr lang="en-GB" sz="3200" b="1" u="sng" dirty="0" err="1"/>
              <a:t>exploiteren</a:t>
            </a:r>
            <a:endParaRPr lang="en-GB" sz="3200" b="1" u="sng" dirty="0"/>
          </a:p>
          <a:p>
            <a:pPr lvl="1"/>
            <a:r>
              <a:rPr lang="en-GB" sz="3200" dirty="0"/>
              <a:t> </a:t>
            </a:r>
            <a:r>
              <a:rPr lang="en-GB" sz="3200" dirty="0" err="1"/>
              <a:t>Exclusiviteit</a:t>
            </a:r>
            <a:r>
              <a:rPr lang="en-GB" sz="3200" dirty="0"/>
              <a:t> </a:t>
            </a:r>
            <a:r>
              <a:rPr lang="en-GB" sz="3200" dirty="0" err="1"/>
              <a:t>een</a:t>
            </a:r>
            <a:r>
              <a:rPr lang="en-GB" sz="3200" dirty="0"/>
              <a:t> </a:t>
            </a:r>
            <a:r>
              <a:rPr lang="en-GB" sz="3200" dirty="0" err="1"/>
              <a:t>bijkomende</a:t>
            </a:r>
            <a:r>
              <a:rPr lang="en-GB" sz="3200" dirty="0"/>
              <a:t> </a:t>
            </a:r>
            <a:r>
              <a:rPr lang="en-GB" sz="3200" dirty="0" err="1"/>
              <a:t>omstandigheid</a:t>
            </a:r>
            <a:r>
              <a:rPr lang="en-GB" sz="3200" dirty="0"/>
              <a:t>?</a:t>
            </a:r>
          </a:p>
          <a:p>
            <a:pPr lvl="1"/>
            <a:r>
              <a:rPr lang="en-GB" sz="3200" dirty="0"/>
              <a:t>Toch </a:t>
            </a:r>
            <a:r>
              <a:rPr lang="en-GB" sz="3200" dirty="0" err="1"/>
              <a:t>een</a:t>
            </a:r>
            <a:r>
              <a:rPr lang="en-GB" sz="3200" dirty="0"/>
              <a:t> </a:t>
            </a:r>
            <a:r>
              <a:rPr lang="en-GB" sz="3200" dirty="0" err="1"/>
              <a:t>zelfbeschikkingsrecht</a:t>
            </a:r>
            <a:r>
              <a:rPr lang="en-GB" sz="3200" dirty="0"/>
              <a:t>?</a:t>
            </a:r>
          </a:p>
          <a:p>
            <a:pPr lvl="1"/>
            <a:endParaRPr lang="en-GB" sz="3200" dirty="0"/>
          </a:p>
        </p:txBody>
      </p:sp>
      <p:pic>
        <p:nvPicPr>
          <p:cNvPr id="5122" name="Picture 2" descr="Johan Cruijff Court voor Thabelang Disabled Center - Bambanani">
            <a:extLst>
              <a:ext uri="{FF2B5EF4-FFF2-40B4-BE49-F238E27FC236}">
                <a16:creationId xmlns:a16="http://schemas.microsoft.com/office/drawing/2014/main" id="{3C03442E-B379-4848-A697-C504F7C44F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77100" y="4099696"/>
            <a:ext cx="4524376" cy="24787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6450943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4AA63B-4AAF-48AA-8C17-4BA03D4D0886}"/>
              </a:ext>
            </a:extLst>
          </p:cNvPr>
          <p:cNvSpPr/>
          <p:nvPr/>
        </p:nvSpPr>
        <p:spPr>
          <a:xfrm>
            <a:off x="3346290" y="1365654"/>
            <a:ext cx="1638300" cy="474300"/>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 name="TextBox 2">
            <a:extLst>
              <a:ext uri="{FF2B5EF4-FFF2-40B4-BE49-F238E27FC236}">
                <a16:creationId xmlns:a16="http://schemas.microsoft.com/office/drawing/2014/main" id="{4A3CC227-1600-4A4D-B38D-AF885B187B8B}"/>
              </a:ext>
            </a:extLst>
          </p:cNvPr>
          <p:cNvSpPr txBox="1"/>
          <p:nvPr/>
        </p:nvSpPr>
        <p:spPr>
          <a:xfrm>
            <a:off x="3488370" y="1456610"/>
            <a:ext cx="1400970" cy="292388"/>
          </a:xfrm>
          <a:prstGeom prst="rect">
            <a:avLst/>
          </a:prstGeom>
          <a:noFill/>
        </p:spPr>
        <p:txBody>
          <a:bodyPr wrap="square" lIns="0" tIns="0" rIns="0" bIns="0" rtlCol="0">
            <a:spAutoFit/>
          </a:bodyPr>
          <a:lstStyle/>
          <a:p>
            <a:pPr algn="l"/>
            <a:r>
              <a:rPr lang="nl-NL" sz="1000" b="1" dirty="0"/>
              <a:t>Gaat het alleen om een commercieel belang?</a:t>
            </a:r>
          </a:p>
        </p:txBody>
      </p:sp>
      <p:cxnSp>
        <p:nvCxnSpPr>
          <p:cNvPr id="6" name="Straight Connector 5">
            <a:extLst>
              <a:ext uri="{FF2B5EF4-FFF2-40B4-BE49-F238E27FC236}">
                <a16:creationId xmlns:a16="http://schemas.microsoft.com/office/drawing/2014/main" id="{777B5499-AE93-4CF8-864F-16186E946876}"/>
              </a:ext>
            </a:extLst>
          </p:cNvPr>
          <p:cNvCxnSpPr>
            <a:cxnSpLocks/>
            <a:stCxn id="2" idx="2"/>
          </p:cNvCxnSpPr>
          <p:nvPr/>
        </p:nvCxnSpPr>
        <p:spPr>
          <a:xfrm>
            <a:off x="4165440" y="183995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BD4FF6-054D-4DC2-B376-E9B528BA2B56}"/>
              </a:ext>
            </a:extLst>
          </p:cNvPr>
          <p:cNvCxnSpPr>
            <a:cxnSpLocks/>
          </p:cNvCxnSpPr>
          <p:nvPr/>
        </p:nvCxnSpPr>
        <p:spPr>
          <a:xfrm>
            <a:off x="2698590" y="214108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8BCA8E74-B98D-4335-B4E3-F2E1DA78D539}"/>
              </a:ext>
            </a:extLst>
          </p:cNvPr>
          <p:cNvSpPr/>
          <p:nvPr/>
        </p:nvSpPr>
        <p:spPr>
          <a:xfrm>
            <a:off x="4814410" y="197144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 name="TextBox 13">
            <a:extLst>
              <a:ext uri="{FF2B5EF4-FFF2-40B4-BE49-F238E27FC236}">
                <a16:creationId xmlns:a16="http://schemas.microsoft.com/office/drawing/2014/main" id="{6BF29656-0740-4487-BA72-6E989BD28750}"/>
              </a:ext>
            </a:extLst>
          </p:cNvPr>
          <p:cNvSpPr txBox="1"/>
          <p:nvPr/>
        </p:nvSpPr>
        <p:spPr>
          <a:xfrm>
            <a:off x="4865210" y="2058462"/>
            <a:ext cx="238760" cy="146194"/>
          </a:xfrm>
          <a:prstGeom prst="rect">
            <a:avLst/>
          </a:prstGeom>
          <a:noFill/>
        </p:spPr>
        <p:txBody>
          <a:bodyPr wrap="square" lIns="0" tIns="0" rIns="0" bIns="0" rtlCol="0">
            <a:spAutoFit/>
          </a:bodyPr>
          <a:lstStyle/>
          <a:p>
            <a:pPr algn="ctr"/>
            <a:r>
              <a:rPr lang="nl-NL" sz="1000" b="1" dirty="0"/>
              <a:t>Ja</a:t>
            </a:r>
          </a:p>
        </p:txBody>
      </p:sp>
      <p:sp>
        <p:nvSpPr>
          <p:cNvPr id="22" name="Oval 21">
            <a:extLst>
              <a:ext uri="{FF2B5EF4-FFF2-40B4-BE49-F238E27FC236}">
                <a16:creationId xmlns:a16="http://schemas.microsoft.com/office/drawing/2014/main" id="{2C1E1805-B2C1-4A64-8081-8972806C35CB}"/>
              </a:ext>
            </a:extLst>
          </p:cNvPr>
          <p:cNvSpPr/>
          <p:nvPr/>
        </p:nvSpPr>
        <p:spPr>
          <a:xfrm>
            <a:off x="3198810" y="198096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23" name="TextBox 22">
            <a:extLst>
              <a:ext uri="{FF2B5EF4-FFF2-40B4-BE49-F238E27FC236}">
                <a16:creationId xmlns:a16="http://schemas.microsoft.com/office/drawing/2014/main" id="{F562E431-4B71-4326-93B1-9AF277E918EC}"/>
              </a:ext>
            </a:extLst>
          </p:cNvPr>
          <p:cNvSpPr txBox="1"/>
          <p:nvPr/>
        </p:nvSpPr>
        <p:spPr>
          <a:xfrm>
            <a:off x="3249610" y="2067987"/>
            <a:ext cx="238760" cy="146194"/>
          </a:xfrm>
          <a:prstGeom prst="rect">
            <a:avLst/>
          </a:prstGeom>
          <a:noFill/>
        </p:spPr>
        <p:txBody>
          <a:bodyPr wrap="square" lIns="0" tIns="0" rIns="0" bIns="0" rtlCol="0">
            <a:spAutoFit/>
          </a:bodyPr>
          <a:lstStyle/>
          <a:p>
            <a:pPr algn="ctr"/>
            <a:r>
              <a:rPr lang="nl-NL" sz="1000" b="1" dirty="0"/>
              <a:t>Nee</a:t>
            </a:r>
          </a:p>
        </p:txBody>
      </p:sp>
      <p:cxnSp>
        <p:nvCxnSpPr>
          <p:cNvPr id="27" name="Straight Connector 26">
            <a:extLst>
              <a:ext uri="{FF2B5EF4-FFF2-40B4-BE49-F238E27FC236}">
                <a16:creationId xmlns:a16="http://schemas.microsoft.com/office/drawing/2014/main" id="{BAEA7DC0-1330-4960-8A0D-06F3A358C131}"/>
              </a:ext>
            </a:extLst>
          </p:cNvPr>
          <p:cNvCxnSpPr>
            <a:cxnSpLocks/>
          </p:cNvCxnSpPr>
          <p:nvPr/>
        </p:nvCxnSpPr>
        <p:spPr>
          <a:xfrm>
            <a:off x="2698590" y="214108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782F92-166B-4062-B59B-A62E17D222E8}"/>
              </a:ext>
            </a:extLst>
          </p:cNvPr>
          <p:cNvCxnSpPr>
            <a:cxnSpLocks/>
          </p:cNvCxnSpPr>
          <p:nvPr/>
        </p:nvCxnSpPr>
        <p:spPr>
          <a:xfrm>
            <a:off x="5683090" y="2131559"/>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640DC87-CC51-4A0E-AA1D-50AE925A217F}"/>
              </a:ext>
            </a:extLst>
          </p:cNvPr>
          <p:cNvSpPr/>
          <p:nvPr/>
        </p:nvSpPr>
        <p:spPr>
          <a:xfrm>
            <a:off x="5205728" y="2420792"/>
            <a:ext cx="1638300" cy="5473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0" name="TextBox 29">
            <a:extLst>
              <a:ext uri="{FF2B5EF4-FFF2-40B4-BE49-F238E27FC236}">
                <a16:creationId xmlns:a16="http://schemas.microsoft.com/office/drawing/2014/main" id="{C0475137-86B3-4917-B9C0-AB227344EA19}"/>
              </a:ext>
            </a:extLst>
          </p:cNvPr>
          <p:cNvSpPr txBox="1"/>
          <p:nvPr/>
        </p:nvSpPr>
        <p:spPr>
          <a:xfrm>
            <a:off x="5263989" y="2484915"/>
            <a:ext cx="1580039" cy="438582"/>
          </a:xfrm>
          <a:prstGeom prst="rect">
            <a:avLst/>
          </a:prstGeom>
          <a:noFill/>
        </p:spPr>
        <p:txBody>
          <a:bodyPr wrap="square" lIns="0" tIns="0" rIns="0" bIns="0" rtlCol="0">
            <a:spAutoFit/>
          </a:bodyPr>
          <a:lstStyle/>
          <a:p>
            <a:pPr algn="l"/>
            <a:r>
              <a:rPr lang="nl-NL" sz="1000" b="1" dirty="0"/>
              <a:t>Zijn er omstandigheden, die rechtvaardigen daaraan voorbij te gaan?</a:t>
            </a:r>
          </a:p>
        </p:txBody>
      </p:sp>
      <p:cxnSp>
        <p:nvCxnSpPr>
          <p:cNvPr id="31" name="Straight Connector 30">
            <a:extLst>
              <a:ext uri="{FF2B5EF4-FFF2-40B4-BE49-F238E27FC236}">
                <a16:creationId xmlns:a16="http://schemas.microsoft.com/office/drawing/2014/main" id="{7B8E2A95-4E98-4063-B191-C684EE98C8B4}"/>
              </a:ext>
            </a:extLst>
          </p:cNvPr>
          <p:cNvCxnSpPr>
            <a:cxnSpLocks/>
          </p:cNvCxnSpPr>
          <p:nvPr/>
        </p:nvCxnSpPr>
        <p:spPr>
          <a:xfrm>
            <a:off x="4603750" y="3285355"/>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F24F7763-629E-4BA0-84C7-7ADFF6C7F211}"/>
              </a:ext>
            </a:extLst>
          </p:cNvPr>
          <p:cNvSpPr/>
          <p:nvPr/>
        </p:nvSpPr>
        <p:spPr>
          <a:xfrm>
            <a:off x="6711450" y="3118783"/>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4" name="Oval 33">
            <a:extLst>
              <a:ext uri="{FF2B5EF4-FFF2-40B4-BE49-F238E27FC236}">
                <a16:creationId xmlns:a16="http://schemas.microsoft.com/office/drawing/2014/main" id="{7CAA5729-16F8-4013-B47F-C7CD3547C566}"/>
              </a:ext>
            </a:extLst>
          </p:cNvPr>
          <p:cNvSpPr/>
          <p:nvPr/>
        </p:nvSpPr>
        <p:spPr>
          <a:xfrm>
            <a:off x="5103970" y="314029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36" name="Straight Connector 35">
            <a:extLst>
              <a:ext uri="{FF2B5EF4-FFF2-40B4-BE49-F238E27FC236}">
                <a16:creationId xmlns:a16="http://schemas.microsoft.com/office/drawing/2014/main" id="{87CA7E61-3F33-4EB6-960C-4CE280A5ABB6}"/>
              </a:ext>
            </a:extLst>
          </p:cNvPr>
          <p:cNvCxnSpPr>
            <a:cxnSpLocks/>
          </p:cNvCxnSpPr>
          <p:nvPr/>
        </p:nvCxnSpPr>
        <p:spPr>
          <a:xfrm>
            <a:off x="4603750" y="3285355"/>
            <a:ext cx="0" cy="2797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9A3D5EF-43CB-451B-B568-B53480E1D47D}"/>
              </a:ext>
            </a:extLst>
          </p:cNvPr>
          <p:cNvCxnSpPr>
            <a:cxnSpLocks/>
          </p:cNvCxnSpPr>
          <p:nvPr/>
        </p:nvCxnSpPr>
        <p:spPr>
          <a:xfrm>
            <a:off x="7588250" y="327583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D8AC045-C7DE-4588-A7E4-7598C7B20471}"/>
              </a:ext>
            </a:extLst>
          </p:cNvPr>
          <p:cNvCxnSpPr>
            <a:cxnSpLocks/>
          </p:cNvCxnSpPr>
          <p:nvPr/>
        </p:nvCxnSpPr>
        <p:spPr>
          <a:xfrm>
            <a:off x="6013290" y="298097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46457EA-0AC8-4B53-B7D9-BB4DB0EA5BFC}"/>
              </a:ext>
            </a:extLst>
          </p:cNvPr>
          <p:cNvSpPr/>
          <p:nvPr/>
        </p:nvSpPr>
        <p:spPr>
          <a:xfrm>
            <a:off x="6782348" y="3582689"/>
            <a:ext cx="1638300" cy="443824"/>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48" name="TextBox 47">
            <a:extLst>
              <a:ext uri="{FF2B5EF4-FFF2-40B4-BE49-F238E27FC236}">
                <a16:creationId xmlns:a16="http://schemas.microsoft.com/office/drawing/2014/main" id="{4909BCBC-3AEB-405C-B0AE-DCC96A0DCED5}"/>
              </a:ext>
            </a:extLst>
          </p:cNvPr>
          <p:cNvSpPr txBox="1"/>
          <p:nvPr/>
        </p:nvSpPr>
        <p:spPr>
          <a:xfrm>
            <a:off x="6840609" y="3646812"/>
            <a:ext cx="1580039" cy="292388"/>
          </a:xfrm>
          <a:prstGeom prst="rect">
            <a:avLst/>
          </a:prstGeom>
          <a:noFill/>
        </p:spPr>
        <p:txBody>
          <a:bodyPr wrap="square" lIns="0" tIns="0" rIns="0" bIns="0" rtlCol="0">
            <a:spAutoFit/>
          </a:bodyPr>
          <a:lstStyle/>
          <a:p>
            <a:pPr algn="l"/>
            <a:r>
              <a:rPr lang="nl-NL" sz="1000" b="1" dirty="0"/>
              <a:t>Is er een redelijke vergoeding aangeboden?</a:t>
            </a:r>
          </a:p>
        </p:txBody>
      </p:sp>
      <p:cxnSp>
        <p:nvCxnSpPr>
          <p:cNvPr id="52" name="Straight Connector 51">
            <a:extLst>
              <a:ext uri="{FF2B5EF4-FFF2-40B4-BE49-F238E27FC236}">
                <a16:creationId xmlns:a16="http://schemas.microsoft.com/office/drawing/2014/main" id="{9E53E2B1-38C6-4933-88F0-A94EAD24EAC7}"/>
              </a:ext>
            </a:extLst>
          </p:cNvPr>
          <p:cNvCxnSpPr>
            <a:cxnSpLocks/>
          </p:cNvCxnSpPr>
          <p:nvPr/>
        </p:nvCxnSpPr>
        <p:spPr>
          <a:xfrm>
            <a:off x="7610867" y="4037233"/>
            <a:ext cx="1011" cy="3088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9968F71-9C41-43FD-B0B5-FC38E4580903}"/>
              </a:ext>
            </a:extLst>
          </p:cNvPr>
          <p:cNvCxnSpPr>
            <a:cxnSpLocks/>
          </p:cNvCxnSpPr>
          <p:nvPr/>
        </p:nvCxnSpPr>
        <p:spPr>
          <a:xfrm>
            <a:off x="6106481" y="4345791"/>
            <a:ext cx="3003777" cy="952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16D10688-034F-4D36-8F4B-546B50EB2B89}"/>
              </a:ext>
            </a:extLst>
          </p:cNvPr>
          <p:cNvSpPr/>
          <p:nvPr/>
        </p:nvSpPr>
        <p:spPr>
          <a:xfrm>
            <a:off x="6625978" y="4195198"/>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57" name="TextBox 56">
            <a:extLst>
              <a:ext uri="{FF2B5EF4-FFF2-40B4-BE49-F238E27FC236}">
                <a16:creationId xmlns:a16="http://schemas.microsoft.com/office/drawing/2014/main" id="{D51D173E-97B3-4876-A8C8-E38877D92E8B}"/>
              </a:ext>
            </a:extLst>
          </p:cNvPr>
          <p:cNvSpPr txBox="1"/>
          <p:nvPr/>
        </p:nvSpPr>
        <p:spPr>
          <a:xfrm>
            <a:off x="6676778" y="4282219"/>
            <a:ext cx="238760" cy="146194"/>
          </a:xfrm>
          <a:prstGeom prst="rect">
            <a:avLst/>
          </a:prstGeom>
          <a:noFill/>
        </p:spPr>
        <p:txBody>
          <a:bodyPr wrap="square" lIns="0" tIns="0" rIns="0" bIns="0" rtlCol="0">
            <a:spAutoFit/>
          </a:bodyPr>
          <a:lstStyle/>
          <a:p>
            <a:pPr algn="ctr"/>
            <a:r>
              <a:rPr lang="nl-NL" sz="1000" b="1" dirty="0"/>
              <a:t>Nee</a:t>
            </a:r>
          </a:p>
        </p:txBody>
      </p:sp>
      <p:cxnSp>
        <p:nvCxnSpPr>
          <p:cNvPr id="58" name="Straight Connector 57">
            <a:extLst>
              <a:ext uri="{FF2B5EF4-FFF2-40B4-BE49-F238E27FC236}">
                <a16:creationId xmlns:a16="http://schemas.microsoft.com/office/drawing/2014/main" id="{CDA9C1FF-36D9-4166-88DA-331CA02D1C71}"/>
              </a:ext>
            </a:extLst>
          </p:cNvPr>
          <p:cNvCxnSpPr>
            <a:cxnSpLocks/>
          </p:cNvCxnSpPr>
          <p:nvPr/>
        </p:nvCxnSpPr>
        <p:spPr>
          <a:xfrm>
            <a:off x="6106481" y="4345791"/>
            <a:ext cx="0" cy="173713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213441D-DC04-4B32-9BCF-EA973FC849BB}"/>
              </a:ext>
            </a:extLst>
          </p:cNvPr>
          <p:cNvCxnSpPr>
            <a:cxnSpLocks/>
          </p:cNvCxnSpPr>
          <p:nvPr/>
        </p:nvCxnSpPr>
        <p:spPr>
          <a:xfrm>
            <a:off x="9110258" y="4345791"/>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B545E02-BCF2-4EC2-BBD5-98D3F32104CA}"/>
              </a:ext>
            </a:extLst>
          </p:cNvPr>
          <p:cNvSpPr/>
          <p:nvPr/>
        </p:nvSpPr>
        <p:spPr>
          <a:xfrm>
            <a:off x="8244360" y="4646093"/>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1" name="TextBox 60">
            <a:extLst>
              <a:ext uri="{FF2B5EF4-FFF2-40B4-BE49-F238E27FC236}">
                <a16:creationId xmlns:a16="http://schemas.microsoft.com/office/drawing/2014/main" id="{659B583B-09BC-4D14-9579-97F609300A5C}"/>
              </a:ext>
            </a:extLst>
          </p:cNvPr>
          <p:cNvSpPr txBox="1"/>
          <p:nvPr/>
        </p:nvSpPr>
        <p:spPr>
          <a:xfrm>
            <a:off x="8301385" y="4701787"/>
            <a:ext cx="1727519" cy="438582"/>
          </a:xfrm>
          <a:prstGeom prst="rect">
            <a:avLst/>
          </a:prstGeom>
          <a:noFill/>
        </p:spPr>
        <p:txBody>
          <a:bodyPr wrap="square" lIns="0" tIns="0" rIns="0" bIns="0" rtlCol="0">
            <a:spAutoFit/>
          </a:bodyPr>
          <a:lstStyle/>
          <a:p>
            <a:pPr algn="l"/>
            <a:r>
              <a:rPr lang="nl-NL" sz="1000" b="1" dirty="0"/>
              <a:t>Is er sprake van bijkomende omstandigheden, die zwaarder wegen?</a:t>
            </a:r>
          </a:p>
        </p:txBody>
      </p:sp>
      <p:cxnSp>
        <p:nvCxnSpPr>
          <p:cNvPr id="62" name="Straight Connector 61">
            <a:extLst>
              <a:ext uri="{FF2B5EF4-FFF2-40B4-BE49-F238E27FC236}">
                <a16:creationId xmlns:a16="http://schemas.microsoft.com/office/drawing/2014/main" id="{EDAF109D-26E9-45E1-8D17-2A9423007A9A}"/>
              </a:ext>
            </a:extLst>
          </p:cNvPr>
          <p:cNvCxnSpPr>
            <a:cxnSpLocks/>
          </p:cNvCxnSpPr>
          <p:nvPr/>
        </p:nvCxnSpPr>
        <p:spPr>
          <a:xfrm>
            <a:off x="9114958" y="5246605"/>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CEFBA0-B0ED-452C-A609-30B25281605A}"/>
              </a:ext>
            </a:extLst>
          </p:cNvPr>
          <p:cNvCxnSpPr>
            <a:cxnSpLocks/>
          </p:cNvCxnSpPr>
          <p:nvPr/>
        </p:nvCxnSpPr>
        <p:spPr>
          <a:xfrm>
            <a:off x="7716826" y="555252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7D0992D6-462A-4474-A14F-0FBAE2C87A75}"/>
              </a:ext>
            </a:extLst>
          </p:cNvPr>
          <p:cNvSpPr/>
          <p:nvPr/>
        </p:nvSpPr>
        <p:spPr>
          <a:xfrm>
            <a:off x="9832646" y="538288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5" name="TextBox 64">
            <a:extLst>
              <a:ext uri="{FF2B5EF4-FFF2-40B4-BE49-F238E27FC236}">
                <a16:creationId xmlns:a16="http://schemas.microsoft.com/office/drawing/2014/main" id="{DCB6607F-A6C4-4385-9E9D-45333D3A096A}"/>
              </a:ext>
            </a:extLst>
          </p:cNvPr>
          <p:cNvSpPr txBox="1"/>
          <p:nvPr/>
        </p:nvSpPr>
        <p:spPr>
          <a:xfrm>
            <a:off x="9883446" y="546990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66" name="Oval 65">
            <a:extLst>
              <a:ext uri="{FF2B5EF4-FFF2-40B4-BE49-F238E27FC236}">
                <a16:creationId xmlns:a16="http://schemas.microsoft.com/office/drawing/2014/main" id="{856D15A6-66C5-45CD-83FA-64B16EB1ECCC}"/>
              </a:ext>
            </a:extLst>
          </p:cNvPr>
          <p:cNvSpPr/>
          <p:nvPr/>
        </p:nvSpPr>
        <p:spPr>
          <a:xfrm>
            <a:off x="8217046" y="539240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7" name="TextBox 66">
            <a:extLst>
              <a:ext uri="{FF2B5EF4-FFF2-40B4-BE49-F238E27FC236}">
                <a16:creationId xmlns:a16="http://schemas.microsoft.com/office/drawing/2014/main" id="{DF68BA85-9274-4715-92A3-96CA0BE6FCFD}"/>
              </a:ext>
            </a:extLst>
          </p:cNvPr>
          <p:cNvSpPr txBox="1"/>
          <p:nvPr/>
        </p:nvSpPr>
        <p:spPr>
          <a:xfrm>
            <a:off x="8267846" y="5479427"/>
            <a:ext cx="238760" cy="146194"/>
          </a:xfrm>
          <a:prstGeom prst="rect">
            <a:avLst/>
          </a:prstGeom>
          <a:noFill/>
        </p:spPr>
        <p:txBody>
          <a:bodyPr wrap="square" lIns="0" tIns="0" rIns="0" bIns="0" rtlCol="0">
            <a:spAutoFit/>
          </a:bodyPr>
          <a:lstStyle/>
          <a:p>
            <a:pPr algn="ctr"/>
            <a:r>
              <a:rPr lang="nl-NL" sz="1000" b="1" dirty="0"/>
              <a:t>Nee</a:t>
            </a:r>
          </a:p>
        </p:txBody>
      </p:sp>
      <p:cxnSp>
        <p:nvCxnSpPr>
          <p:cNvPr id="68" name="Straight Connector 67">
            <a:extLst>
              <a:ext uri="{FF2B5EF4-FFF2-40B4-BE49-F238E27FC236}">
                <a16:creationId xmlns:a16="http://schemas.microsoft.com/office/drawing/2014/main" id="{C049A8CB-01C0-4441-B1CD-012C77785216}"/>
              </a:ext>
            </a:extLst>
          </p:cNvPr>
          <p:cNvCxnSpPr>
            <a:cxnSpLocks/>
          </p:cNvCxnSpPr>
          <p:nvPr/>
        </p:nvCxnSpPr>
        <p:spPr>
          <a:xfrm>
            <a:off x="7716826" y="5550747"/>
            <a:ext cx="0" cy="54108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C16183-5358-4CAB-A9D2-E7CBDA05A482}"/>
              </a:ext>
            </a:extLst>
          </p:cNvPr>
          <p:cNvSpPr txBox="1"/>
          <p:nvPr/>
        </p:nvSpPr>
        <p:spPr>
          <a:xfrm>
            <a:off x="5144609" y="3243600"/>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71" name="TextBox 70">
            <a:extLst>
              <a:ext uri="{FF2B5EF4-FFF2-40B4-BE49-F238E27FC236}">
                <a16:creationId xmlns:a16="http://schemas.microsoft.com/office/drawing/2014/main" id="{CECE2BE7-83E9-4AC5-A603-173BD6215BEB}"/>
              </a:ext>
            </a:extLst>
          </p:cNvPr>
          <p:cNvSpPr txBox="1"/>
          <p:nvPr/>
        </p:nvSpPr>
        <p:spPr>
          <a:xfrm>
            <a:off x="6762250" y="3194760"/>
            <a:ext cx="238760" cy="146194"/>
          </a:xfrm>
          <a:prstGeom prst="rect">
            <a:avLst/>
          </a:prstGeom>
          <a:noFill/>
        </p:spPr>
        <p:txBody>
          <a:bodyPr wrap="square" lIns="0" tIns="0" rIns="0" bIns="0" rtlCol="0">
            <a:spAutoFit/>
          </a:bodyPr>
          <a:lstStyle/>
          <a:p>
            <a:pPr algn="ctr"/>
            <a:r>
              <a:rPr lang="nl-NL" sz="1000" b="1" dirty="0"/>
              <a:t>Nee</a:t>
            </a:r>
          </a:p>
        </p:txBody>
      </p:sp>
      <p:sp>
        <p:nvSpPr>
          <p:cNvPr id="75" name="TextBox 74">
            <a:extLst>
              <a:ext uri="{FF2B5EF4-FFF2-40B4-BE49-F238E27FC236}">
                <a16:creationId xmlns:a16="http://schemas.microsoft.com/office/drawing/2014/main" id="{88A9D700-3A8D-4CA3-AA7F-E87251976D43}"/>
              </a:ext>
            </a:extLst>
          </p:cNvPr>
          <p:cNvSpPr txBox="1"/>
          <p:nvPr/>
        </p:nvSpPr>
        <p:spPr>
          <a:xfrm>
            <a:off x="7002607" y="2457987"/>
            <a:ext cx="2384827" cy="292388"/>
          </a:xfrm>
          <a:prstGeom prst="rect">
            <a:avLst/>
          </a:prstGeom>
          <a:noFill/>
        </p:spPr>
        <p:txBody>
          <a:bodyPr wrap="square" lIns="0" tIns="0" rIns="0" bIns="0" rtlCol="0">
            <a:spAutoFit/>
          </a:bodyPr>
          <a:lstStyle/>
          <a:p>
            <a:pPr algn="l"/>
            <a:r>
              <a:rPr lang="nl-NL" sz="1000" b="1" dirty="0"/>
              <a:t>- Bijvoorbeeld de grote informatieve waarde van de publicatie</a:t>
            </a:r>
          </a:p>
        </p:txBody>
      </p:sp>
      <p:sp>
        <p:nvSpPr>
          <p:cNvPr id="78" name="TextBox 77">
            <a:extLst>
              <a:ext uri="{FF2B5EF4-FFF2-40B4-BE49-F238E27FC236}">
                <a16:creationId xmlns:a16="http://schemas.microsoft.com/office/drawing/2014/main" id="{9F933D8F-59AF-4C1C-A767-2A59455D5382}"/>
              </a:ext>
            </a:extLst>
          </p:cNvPr>
          <p:cNvSpPr txBox="1"/>
          <p:nvPr/>
        </p:nvSpPr>
        <p:spPr>
          <a:xfrm>
            <a:off x="10177377" y="4704117"/>
            <a:ext cx="1489028" cy="584775"/>
          </a:xfrm>
          <a:prstGeom prst="rect">
            <a:avLst/>
          </a:prstGeom>
          <a:noFill/>
        </p:spPr>
        <p:txBody>
          <a:bodyPr wrap="square" lIns="0" tIns="0" rIns="0" bIns="0" rtlCol="0">
            <a:spAutoFit/>
          </a:bodyPr>
          <a:lstStyle/>
          <a:p>
            <a:pPr algn="l"/>
            <a:r>
              <a:rPr lang="nl-NL" sz="1000" b="1" dirty="0"/>
              <a:t>- Bijvoorbeeld de publicatie is schadelijk voor de wijze van exploitatie</a:t>
            </a:r>
          </a:p>
        </p:txBody>
      </p:sp>
      <p:cxnSp>
        <p:nvCxnSpPr>
          <p:cNvPr id="88" name="Straight Connector 87">
            <a:extLst>
              <a:ext uri="{FF2B5EF4-FFF2-40B4-BE49-F238E27FC236}">
                <a16:creationId xmlns:a16="http://schemas.microsoft.com/office/drawing/2014/main" id="{9442AA6A-6C6F-4896-A7E3-CEDC647722F7}"/>
              </a:ext>
            </a:extLst>
          </p:cNvPr>
          <p:cNvCxnSpPr>
            <a:cxnSpLocks/>
          </p:cNvCxnSpPr>
          <p:nvPr/>
        </p:nvCxnSpPr>
        <p:spPr>
          <a:xfrm>
            <a:off x="10701326" y="5552524"/>
            <a:ext cx="0" cy="5304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4E50DD30-37F1-4477-9100-943D3E575285}"/>
              </a:ext>
            </a:extLst>
          </p:cNvPr>
          <p:cNvSpPr/>
          <p:nvPr/>
        </p:nvSpPr>
        <p:spPr>
          <a:xfrm>
            <a:off x="9910976" y="5845157"/>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2" name="TextBox 91">
            <a:extLst>
              <a:ext uri="{FF2B5EF4-FFF2-40B4-BE49-F238E27FC236}">
                <a16:creationId xmlns:a16="http://schemas.microsoft.com/office/drawing/2014/main" id="{0C7EEA12-6367-43CC-B3CD-47EF404540A5}"/>
              </a:ext>
            </a:extLst>
          </p:cNvPr>
          <p:cNvSpPr txBox="1"/>
          <p:nvPr/>
        </p:nvSpPr>
        <p:spPr>
          <a:xfrm>
            <a:off x="10013683" y="5908450"/>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95" name="Rectangle 94">
            <a:extLst>
              <a:ext uri="{FF2B5EF4-FFF2-40B4-BE49-F238E27FC236}">
                <a16:creationId xmlns:a16="http://schemas.microsoft.com/office/drawing/2014/main" id="{7924FFC3-A9B8-440C-8CB6-DBFB25D4FC59}"/>
              </a:ext>
            </a:extLst>
          </p:cNvPr>
          <p:cNvSpPr/>
          <p:nvPr/>
        </p:nvSpPr>
        <p:spPr>
          <a:xfrm>
            <a:off x="3775489" y="5837409"/>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6" name="TextBox 95">
            <a:extLst>
              <a:ext uri="{FF2B5EF4-FFF2-40B4-BE49-F238E27FC236}">
                <a16:creationId xmlns:a16="http://schemas.microsoft.com/office/drawing/2014/main" id="{1691F3B4-2E76-4EA7-B05B-E7D3D79F1CDB}"/>
              </a:ext>
            </a:extLst>
          </p:cNvPr>
          <p:cNvSpPr txBox="1"/>
          <p:nvPr/>
        </p:nvSpPr>
        <p:spPr>
          <a:xfrm>
            <a:off x="3878195" y="5900702"/>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98" name="Rectangle 97">
            <a:extLst>
              <a:ext uri="{FF2B5EF4-FFF2-40B4-BE49-F238E27FC236}">
                <a16:creationId xmlns:a16="http://schemas.microsoft.com/office/drawing/2014/main" id="{65874EB7-8523-4BBE-9063-E396A3CD365B}"/>
              </a:ext>
            </a:extLst>
          </p:cNvPr>
          <p:cNvSpPr/>
          <p:nvPr/>
        </p:nvSpPr>
        <p:spPr>
          <a:xfrm>
            <a:off x="7317653" y="5851723"/>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9" name="TextBox 98">
            <a:extLst>
              <a:ext uri="{FF2B5EF4-FFF2-40B4-BE49-F238E27FC236}">
                <a16:creationId xmlns:a16="http://schemas.microsoft.com/office/drawing/2014/main" id="{C2B4C830-1606-4459-BA48-B3616C21F373}"/>
              </a:ext>
            </a:extLst>
          </p:cNvPr>
          <p:cNvSpPr txBox="1"/>
          <p:nvPr/>
        </p:nvSpPr>
        <p:spPr>
          <a:xfrm>
            <a:off x="7478075" y="5915016"/>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101" name="Rectangle 100">
            <a:extLst>
              <a:ext uri="{FF2B5EF4-FFF2-40B4-BE49-F238E27FC236}">
                <a16:creationId xmlns:a16="http://schemas.microsoft.com/office/drawing/2014/main" id="{18D2BBA3-1CFD-44B6-A9E3-2D3BA0B7354D}"/>
              </a:ext>
            </a:extLst>
          </p:cNvPr>
          <p:cNvSpPr/>
          <p:nvPr/>
        </p:nvSpPr>
        <p:spPr>
          <a:xfrm>
            <a:off x="5539015" y="5830550"/>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2" name="TextBox 101">
            <a:extLst>
              <a:ext uri="{FF2B5EF4-FFF2-40B4-BE49-F238E27FC236}">
                <a16:creationId xmlns:a16="http://schemas.microsoft.com/office/drawing/2014/main" id="{83A5AAE7-12D9-4338-A31E-4960F204A60F}"/>
              </a:ext>
            </a:extLst>
          </p:cNvPr>
          <p:cNvSpPr txBox="1"/>
          <p:nvPr/>
        </p:nvSpPr>
        <p:spPr>
          <a:xfrm>
            <a:off x="5641722" y="5893843"/>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06" name="Rectangle 105">
            <a:extLst>
              <a:ext uri="{FF2B5EF4-FFF2-40B4-BE49-F238E27FC236}">
                <a16:creationId xmlns:a16="http://schemas.microsoft.com/office/drawing/2014/main" id="{451E2EB0-C06D-4FF8-86B2-4AD4B5CD2271}"/>
              </a:ext>
            </a:extLst>
          </p:cNvPr>
          <p:cNvSpPr/>
          <p:nvPr/>
        </p:nvSpPr>
        <p:spPr>
          <a:xfrm>
            <a:off x="9910976" y="5837409"/>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7" name="TextBox 106">
            <a:extLst>
              <a:ext uri="{FF2B5EF4-FFF2-40B4-BE49-F238E27FC236}">
                <a16:creationId xmlns:a16="http://schemas.microsoft.com/office/drawing/2014/main" id="{609E68FE-A3F3-428A-8593-ED604F2FE595}"/>
              </a:ext>
            </a:extLst>
          </p:cNvPr>
          <p:cNvSpPr txBox="1"/>
          <p:nvPr/>
        </p:nvSpPr>
        <p:spPr>
          <a:xfrm>
            <a:off x="10013683" y="5900702"/>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24" name="Rectangle 123">
            <a:extLst>
              <a:ext uri="{FF2B5EF4-FFF2-40B4-BE49-F238E27FC236}">
                <a16:creationId xmlns:a16="http://schemas.microsoft.com/office/drawing/2014/main" id="{C8B8F766-1712-4473-87E4-3C7830A939E3}"/>
              </a:ext>
            </a:extLst>
          </p:cNvPr>
          <p:cNvSpPr/>
          <p:nvPr/>
        </p:nvSpPr>
        <p:spPr>
          <a:xfrm>
            <a:off x="1866934" y="2418605"/>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5" name="TextBox 124">
            <a:extLst>
              <a:ext uri="{FF2B5EF4-FFF2-40B4-BE49-F238E27FC236}">
                <a16:creationId xmlns:a16="http://schemas.microsoft.com/office/drawing/2014/main" id="{30FDF0AB-28BD-428B-B668-8463A9ACF6F0}"/>
              </a:ext>
            </a:extLst>
          </p:cNvPr>
          <p:cNvSpPr txBox="1"/>
          <p:nvPr/>
        </p:nvSpPr>
        <p:spPr>
          <a:xfrm>
            <a:off x="1923959" y="2474299"/>
            <a:ext cx="1727519" cy="438582"/>
          </a:xfrm>
          <a:prstGeom prst="rect">
            <a:avLst/>
          </a:prstGeom>
          <a:noFill/>
        </p:spPr>
        <p:txBody>
          <a:bodyPr wrap="square" lIns="0" tIns="0" rIns="0" bIns="0" rtlCol="0">
            <a:spAutoFit/>
          </a:bodyPr>
          <a:lstStyle/>
          <a:p>
            <a:pPr algn="l"/>
            <a:r>
              <a:rPr lang="nl-NL" sz="1000" b="1" dirty="0"/>
              <a:t>Is er sprake van een privacybelang dat zwaarder weegt</a:t>
            </a:r>
          </a:p>
        </p:txBody>
      </p:sp>
      <p:cxnSp>
        <p:nvCxnSpPr>
          <p:cNvPr id="126" name="Straight Connector 125">
            <a:extLst>
              <a:ext uri="{FF2B5EF4-FFF2-40B4-BE49-F238E27FC236}">
                <a16:creationId xmlns:a16="http://schemas.microsoft.com/office/drawing/2014/main" id="{F972DA0F-5EA6-4B15-9BEC-6DDF1E5AEA5B}"/>
              </a:ext>
            </a:extLst>
          </p:cNvPr>
          <p:cNvCxnSpPr>
            <a:cxnSpLocks/>
          </p:cNvCxnSpPr>
          <p:nvPr/>
        </p:nvCxnSpPr>
        <p:spPr>
          <a:xfrm>
            <a:off x="1281826" y="3345747"/>
            <a:ext cx="288361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0D0A9401-8F6A-4DC2-BA84-120FF7BA7FF8}"/>
              </a:ext>
            </a:extLst>
          </p:cNvPr>
          <p:cNvSpPr/>
          <p:nvPr/>
        </p:nvSpPr>
        <p:spPr>
          <a:xfrm>
            <a:off x="3406456" y="3203950"/>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8" name="Oval 127">
            <a:extLst>
              <a:ext uri="{FF2B5EF4-FFF2-40B4-BE49-F238E27FC236}">
                <a16:creationId xmlns:a16="http://schemas.microsoft.com/office/drawing/2014/main" id="{8D9FCA63-2306-4637-A5E8-7D4217718489}"/>
              </a:ext>
            </a:extLst>
          </p:cNvPr>
          <p:cNvSpPr/>
          <p:nvPr/>
        </p:nvSpPr>
        <p:spPr>
          <a:xfrm>
            <a:off x="1782046" y="320069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129" name="Straight Connector 128">
            <a:extLst>
              <a:ext uri="{FF2B5EF4-FFF2-40B4-BE49-F238E27FC236}">
                <a16:creationId xmlns:a16="http://schemas.microsoft.com/office/drawing/2014/main" id="{AFA73E03-443B-461C-9E6E-C15745CB4411}"/>
              </a:ext>
            </a:extLst>
          </p:cNvPr>
          <p:cNvCxnSpPr>
            <a:cxnSpLocks/>
          </p:cNvCxnSpPr>
          <p:nvPr/>
        </p:nvCxnSpPr>
        <p:spPr>
          <a:xfrm>
            <a:off x="2710697" y="3017464"/>
            <a:ext cx="0" cy="315503"/>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AC68ED0-A10B-4E1E-94E7-1A0F2DE415B2}"/>
              </a:ext>
            </a:extLst>
          </p:cNvPr>
          <p:cNvSpPr txBox="1"/>
          <p:nvPr/>
        </p:nvSpPr>
        <p:spPr>
          <a:xfrm>
            <a:off x="1822685" y="330399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131" name="TextBox 130">
            <a:extLst>
              <a:ext uri="{FF2B5EF4-FFF2-40B4-BE49-F238E27FC236}">
                <a16:creationId xmlns:a16="http://schemas.microsoft.com/office/drawing/2014/main" id="{47EF5ED5-8802-4DD6-928D-9545D4046563}"/>
              </a:ext>
            </a:extLst>
          </p:cNvPr>
          <p:cNvSpPr txBox="1"/>
          <p:nvPr/>
        </p:nvSpPr>
        <p:spPr>
          <a:xfrm>
            <a:off x="3457256" y="3279927"/>
            <a:ext cx="238760" cy="146194"/>
          </a:xfrm>
          <a:prstGeom prst="rect">
            <a:avLst/>
          </a:prstGeom>
          <a:noFill/>
        </p:spPr>
        <p:txBody>
          <a:bodyPr wrap="square" lIns="0" tIns="0" rIns="0" bIns="0" rtlCol="0">
            <a:spAutoFit/>
          </a:bodyPr>
          <a:lstStyle/>
          <a:p>
            <a:pPr algn="ctr"/>
            <a:r>
              <a:rPr lang="nl-NL" sz="1000" b="1" dirty="0"/>
              <a:t>Nee</a:t>
            </a:r>
          </a:p>
        </p:txBody>
      </p:sp>
      <p:cxnSp>
        <p:nvCxnSpPr>
          <p:cNvPr id="139" name="Straight Connector 138">
            <a:extLst>
              <a:ext uri="{FF2B5EF4-FFF2-40B4-BE49-F238E27FC236}">
                <a16:creationId xmlns:a16="http://schemas.microsoft.com/office/drawing/2014/main" id="{0CAB89A0-F10C-4137-946E-D5384CA9F81C}"/>
              </a:ext>
            </a:extLst>
          </p:cNvPr>
          <p:cNvCxnSpPr>
            <a:cxnSpLocks/>
          </p:cNvCxnSpPr>
          <p:nvPr/>
        </p:nvCxnSpPr>
        <p:spPr>
          <a:xfrm>
            <a:off x="4165440" y="3345747"/>
            <a:ext cx="0" cy="249166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AAF164F-4380-4357-AFD6-527FDEF78A25}"/>
              </a:ext>
            </a:extLst>
          </p:cNvPr>
          <p:cNvCxnSpPr>
            <a:cxnSpLocks/>
          </p:cNvCxnSpPr>
          <p:nvPr/>
        </p:nvCxnSpPr>
        <p:spPr>
          <a:xfrm>
            <a:off x="1281826" y="3332967"/>
            <a:ext cx="0" cy="2753837"/>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2123B680-F3A0-4A7B-B1EA-D77822697EA2}"/>
              </a:ext>
            </a:extLst>
          </p:cNvPr>
          <p:cNvSpPr/>
          <p:nvPr/>
        </p:nvSpPr>
        <p:spPr>
          <a:xfrm>
            <a:off x="700596" y="5828503"/>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3" name="TextBox 142">
            <a:extLst>
              <a:ext uri="{FF2B5EF4-FFF2-40B4-BE49-F238E27FC236}">
                <a16:creationId xmlns:a16="http://schemas.microsoft.com/office/drawing/2014/main" id="{6A3D137E-0FA2-498B-80D1-3A9B84EC13EB}"/>
              </a:ext>
            </a:extLst>
          </p:cNvPr>
          <p:cNvSpPr txBox="1"/>
          <p:nvPr/>
        </p:nvSpPr>
        <p:spPr>
          <a:xfrm>
            <a:off x="803303" y="5891796"/>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45" name="TextBox 144">
            <a:extLst>
              <a:ext uri="{FF2B5EF4-FFF2-40B4-BE49-F238E27FC236}">
                <a16:creationId xmlns:a16="http://schemas.microsoft.com/office/drawing/2014/main" id="{1DEBE77C-D20E-4E17-821E-E37406F92D45}"/>
              </a:ext>
            </a:extLst>
          </p:cNvPr>
          <p:cNvSpPr txBox="1"/>
          <p:nvPr/>
        </p:nvSpPr>
        <p:spPr>
          <a:xfrm>
            <a:off x="305318" y="2432689"/>
            <a:ext cx="1509486" cy="584775"/>
          </a:xfrm>
          <a:prstGeom prst="rect">
            <a:avLst/>
          </a:prstGeom>
          <a:noFill/>
        </p:spPr>
        <p:txBody>
          <a:bodyPr wrap="square" lIns="0" tIns="0" rIns="0" bIns="0" rtlCol="0">
            <a:spAutoFit/>
          </a:bodyPr>
          <a:lstStyle/>
          <a:p>
            <a:pPr algn="l"/>
            <a:r>
              <a:rPr lang="nl-NL" sz="1000" b="1" dirty="0"/>
              <a:t>- Bijvoorbeeld ongewenste  associatie met een commercieel product</a:t>
            </a:r>
          </a:p>
        </p:txBody>
      </p:sp>
      <p:sp>
        <p:nvSpPr>
          <p:cNvPr id="147" name="Title 4">
            <a:extLst>
              <a:ext uri="{FF2B5EF4-FFF2-40B4-BE49-F238E27FC236}">
                <a16:creationId xmlns:a16="http://schemas.microsoft.com/office/drawing/2014/main" id="{DFB8379B-C52C-44B1-9975-E4C1FA19CCDF}"/>
              </a:ext>
            </a:extLst>
          </p:cNvPr>
          <p:cNvSpPr txBox="1">
            <a:spLocks/>
          </p:cNvSpPr>
          <p:nvPr/>
        </p:nvSpPr>
        <p:spPr>
          <a:xfrm>
            <a:off x="576262" y="295270"/>
            <a:ext cx="10752137" cy="720000"/>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a:lstStyle>
          <a:p>
            <a:pPr>
              <a:buFontTx/>
            </a:pPr>
            <a:r>
              <a:rPr lang="en-GB" altLang="en-US" dirty="0" err="1"/>
              <a:t>Stroomschema</a:t>
            </a:r>
            <a:r>
              <a:rPr lang="en-GB" altLang="en-US" dirty="0"/>
              <a:t> </a:t>
            </a:r>
            <a:endParaRPr lang="en-GB" dirty="0"/>
          </a:p>
        </p:txBody>
      </p:sp>
      <p:sp>
        <p:nvSpPr>
          <p:cNvPr id="196" name="Oval 195">
            <a:extLst>
              <a:ext uri="{FF2B5EF4-FFF2-40B4-BE49-F238E27FC236}">
                <a16:creationId xmlns:a16="http://schemas.microsoft.com/office/drawing/2014/main" id="{FF94D867-3801-4519-BB43-0933CB92CBBC}"/>
              </a:ext>
            </a:extLst>
          </p:cNvPr>
          <p:cNvSpPr/>
          <p:nvPr/>
        </p:nvSpPr>
        <p:spPr>
          <a:xfrm>
            <a:off x="8250402" y="418111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97" name="TextBox 196">
            <a:extLst>
              <a:ext uri="{FF2B5EF4-FFF2-40B4-BE49-F238E27FC236}">
                <a16:creationId xmlns:a16="http://schemas.microsoft.com/office/drawing/2014/main" id="{03B9750A-AC7F-4B72-9FFB-B8DD6690310C}"/>
              </a:ext>
            </a:extLst>
          </p:cNvPr>
          <p:cNvSpPr txBox="1"/>
          <p:nvPr/>
        </p:nvSpPr>
        <p:spPr>
          <a:xfrm>
            <a:off x="8287179" y="4261112"/>
            <a:ext cx="238760" cy="146194"/>
          </a:xfrm>
          <a:prstGeom prst="rect">
            <a:avLst/>
          </a:prstGeom>
          <a:noFill/>
        </p:spPr>
        <p:txBody>
          <a:bodyPr wrap="square" lIns="0" tIns="0" rIns="0" bIns="0" rtlCol="0">
            <a:spAutoFit/>
          </a:bodyPr>
          <a:lstStyle/>
          <a:p>
            <a:pPr algn="ctr"/>
            <a:r>
              <a:rPr lang="nl-NL" sz="1000" b="1" dirty="0"/>
              <a:t>Ja</a:t>
            </a:r>
          </a:p>
        </p:txBody>
      </p:sp>
    </p:spTree>
    <p:custDataLst>
      <p:tags r:id="rId1"/>
    </p:custDataLst>
    <p:extLst>
      <p:ext uri="{BB962C8B-B14F-4D97-AF65-F5344CB8AC3E}">
        <p14:creationId xmlns:p14="http://schemas.microsoft.com/office/powerpoint/2010/main" val="169994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4AA63B-4AAF-48AA-8C17-4BA03D4D0886}"/>
              </a:ext>
            </a:extLst>
          </p:cNvPr>
          <p:cNvSpPr/>
          <p:nvPr/>
        </p:nvSpPr>
        <p:spPr>
          <a:xfrm>
            <a:off x="3346290" y="1365654"/>
            <a:ext cx="1638300" cy="474300"/>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 name="TextBox 2">
            <a:extLst>
              <a:ext uri="{FF2B5EF4-FFF2-40B4-BE49-F238E27FC236}">
                <a16:creationId xmlns:a16="http://schemas.microsoft.com/office/drawing/2014/main" id="{4A3CC227-1600-4A4D-B38D-AF885B187B8B}"/>
              </a:ext>
            </a:extLst>
          </p:cNvPr>
          <p:cNvSpPr txBox="1"/>
          <p:nvPr/>
        </p:nvSpPr>
        <p:spPr>
          <a:xfrm>
            <a:off x="3488370" y="1456610"/>
            <a:ext cx="1400970" cy="292388"/>
          </a:xfrm>
          <a:prstGeom prst="rect">
            <a:avLst/>
          </a:prstGeom>
          <a:noFill/>
        </p:spPr>
        <p:txBody>
          <a:bodyPr wrap="square" lIns="0" tIns="0" rIns="0" bIns="0" rtlCol="0">
            <a:spAutoFit/>
          </a:bodyPr>
          <a:lstStyle/>
          <a:p>
            <a:pPr algn="l"/>
            <a:r>
              <a:rPr lang="nl-NL" sz="1000" b="1" dirty="0"/>
              <a:t>Gaat het alleen om een commercieel belang?</a:t>
            </a:r>
          </a:p>
        </p:txBody>
      </p:sp>
      <p:cxnSp>
        <p:nvCxnSpPr>
          <p:cNvPr id="6" name="Straight Connector 5">
            <a:extLst>
              <a:ext uri="{FF2B5EF4-FFF2-40B4-BE49-F238E27FC236}">
                <a16:creationId xmlns:a16="http://schemas.microsoft.com/office/drawing/2014/main" id="{777B5499-AE93-4CF8-864F-16186E946876}"/>
              </a:ext>
            </a:extLst>
          </p:cNvPr>
          <p:cNvCxnSpPr>
            <a:cxnSpLocks/>
            <a:stCxn id="2" idx="2"/>
          </p:cNvCxnSpPr>
          <p:nvPr/>
        </p:nvCxnSpPr>
        <p:spPr>
          <a:xfrm>
            <a:off x="4165440" y="183995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BD4FF6-054D-4DC2-B376-E9B528BA2B56}"/>
              </a:ext>
            </a:extLst>
          </p:cNvPr>
          <p:cNvCxnSpPr>
            <a:cxnSpLocks/>
          </p:cNvCxnSpPr>
          <p:nvPr/>
        </p:nvCxnSpPr>
        <p:spPr>
          <a:xfrm>
            <a:off x="2698590" y="214108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8BCA8E74-B98D-4335-B4E3-F2E1DA78D539}"/>
              </a:ext>
            </a:extLst>
          </p:cNvPr>
          <p:cNvSpPr/>
          <p:nvPr/>
        </p:nvSpPr>
        <p:spPr>
          <a:xfrm>
            <a:off x="4814410" y="197144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 name="TextBox 13">
            <a:extLst>
              <a:ext uri="{FF2B5EF4-FFF2-40B4-BE49-F238E27FC236}">
                <a16:creationId xmlns:a16="http://schemas.microsoft.com/office/drawing/2014/main" id="{6BF29656-0740-4487-BA72-6E989BD28750}"/>
              </a:ext>
            </a:extLst>
          </p:cNvPr>
          <p:cNvSpPr txBox="1"/>
          <p:nvPr/>
        </p:nvSpPr>
        <p:spPr>
          <a:xfrm>
            <a:off x="4865210" y="2058462"/>
            <a:ext cx="238760" cy="146194"/>
          </a:xfrm>
          <a:prstGeom prst="rect">
            <a:avLst/>
          </a:prstGeom>
          <a:noFill/>
        </p:spPr>
        <p:txBody>
          <a:bodyPr wrap="square" lIns="0" tIns="0" rIns="0" bIns="0" rtlCol="0">
            <a:spAutoFit/>
          </a:bodyPr>
          <a:lstStyle/>
          <a:p>
            <a:pPr algn="ctr"/>
            <a:r>
              <a:rPr lang="nl-NL" sz="1000" b="1" dirty="0"/>
              <a:t>Ja</a:t>
            </a:r>
          </a:p>
        </p:txBody>
      </p:sp>
      <p:sp>
        <p:nvSpPr>
          <p:cNvPr id="22" name="Oval 21">
            <a:extLst>
              <a:ext uri="{FF2B5EF4-FFF2-40B4-BE49-F238E27FC236}">
                <a16:creationId xmlns:a16="http://schemas.microsoft.com/office/drawing/2014/main" id="{2C1E1805-B2C1-4A64-8081-8972806C35CB}"/>
              </a:ext>
            </a:extLst>
          </p:cNvPr>
          <p:cNvSpPr/>
          <p:nvPr/>
        </p:nvSpPr>
        <p:spPr>
          <a:xfrm>
            <a:off x="3198810" y="198096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23" name="TextBox 22">
            <a:extLst>
              <a:ext uri="{FF2B5EF4-FFF2-40B4-BE49-F238E27FC236}">
                <a16:creationId xmlns:a16="http://schemas.microsoft.com/office/drawing/2014/main" id="{F562E431-4B71-4326-93B1-9AF277E918EC}"/>
              </a:ext>
            </a:extLst>
          </p:cNvPr>
          <p:cNvSpPr txBox="1"/>
          <p:nvPr/>
        </p:nvSpPr>
        <p:spPr>
          <a:xfrm>
            <a:off x="3249610" y="2067987"/>
            <a:ext cx="238760" cy="146194"/>
          </a:xfrm>
          <a:prstGeom prst="rect">
            <a:avLst/>
          </a:prstGeom>
          <a:noFill/>
        </p:spPr>
        <p:txBody>
          <a:bodyPr wrap="square" lIns="0" tIns="0" rIns="0" bIns="0" rtlCol="0">
            <a:spAutoFit/>
          </a:bodyPr>
          <a:lstStyle/>
          <a:p>
            <a:pPr algn="ctr"/>
            <a:r>
              <a:rPr lang="nl-NL" sz="1000" b="1" dirty="0"/>
              <a:t>Nee</a:t>
            </a:r>
          </a:p>
        </p:txBody>
      </p:sp>
      <p:cxnSp>
        <p:nvCxnSpPr>
          <p:cNvPr id="27" name="Straight Connector 26">
            <a:extLst>
              <a:ext uri="{FF2B5EF4-FFF2-40B4-BE49-F238E27FC236}">
                <a16:creationId xmlns:a16="http://schemas.microsoft.com/office/drawing/2014/main" id="{BAEA7DC0-1330-4960-8A0D-06F3A358C131}"/>
              </a:ext>
            </a:extLst>
          </p:cNvPr>
          <p:cNvCxnSpPr>
            <a:cxnSpLocks/>
          </p:cNvCxnSpPr>
          <p:nvPr/>
        </p:nvCxnSpPr>
        <p:spPr>
          <a:xfrm>
            <a:off x="2698590" y="214108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782F92-166B-4062-B59B-A62E17D222E8}"/>
              </a:ext>
            </a:extLst>
          </p:cNvPr>
          <p:cNvCxnSpPr>
            <a:cxnSpLocks/>
          </p:cNvCxnSpPr>
          <p:nvPr/>
        </p:nvCxnSpPr>
        <p:spPr>
          <a:xfrm>
            <a:off x="5683090" y="2131559"/>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640DC87-CC51-4A0E-AA1D-50AE925A217F}"/>
              </a:ext>
            </a:extLst>
          </p:cNvPr>
          <p:cNvSpPr/>
          <p:nvPr/>
        </p:nvSpPr>
        <p:spPr>
          <a:xfrm>
            <a:off x="5205728" y="2420792"/>
            <a:ext cx="1638300" cy="5473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0" name="TextBox 29">
            <a:extLst>
              <a:ext uri="{FF2B5EF4-FFF2-40B4-BE49-F238E27FC236}">
                <a16:creationId xmlns:a16="http://schemas.microsoft.com/office/drawing/2014/main" id="{C0475137-86B3-4917-B9C0-AB227344EA19}"/>
              </a:ext>
            </a:extLst>
          </p:cNvPr>
          <p:cNvSpPr txBox="1"/>
          <p:nvPr/>
        </p:nvSpPr>
        <p:spPr>
          <a:xfrm>
            <a:off x="5263989" y="2484915"/>
            <a:ext cx="1580039" cy="438582"/>
          </a:xfrm>
          <a:prstGeom prst="rect">
            <a:avLst/>
          </a:prstGeom>
          <a:noFill/>
        </p:spPr>
        <p:txBody>
          <a:bodyPr wrap="square" lIns="0" tIns="0" rIns="0" bIns="0" rtlCol="0">
            <a:spAutoFit/>
          </a:bodyPr>
          <a:lstStyle/>
          <a:p>
            <a:pPr algn="l"/>
            <a:r>
              <a:rPr lang="nl-NL" sz="1000" b="1" dirty="0"/>
              <a:t>Zijn er omstandigheden, die rechtvaardigen daaraan voorbij te gaan?</a:t>
            </a:r>
          </a:p>
        </p:txBody>
      </p:sp>
      <p:cxnSp>
        <p:nvCxnSpPr>
          <p:cNvPr id="31" name="Straight Connector 30">
            <a:extLst>
              <a:ext uri="{FF2B5EF4-FFF2-40B4-BE49-F238E27FC236}">
                <a16:creationId xmlns:a16="http://schemas.microsoft.com/office/drawing/2014/main" id="{7B8E2A95-4E98-4063-B191-C684EE98C8B4}"/>
              </a:ext>
            </a:extLst>
          </p:cNvPr>
          <p:cNvCxnSpPr>
            <a:cxnSpLocks/>
          </p:cNvCxnSpPr>
          <p:nvPr/>
        </p:nvCxnSpPr>
        <p:spPr>
          <a:xfrm>
            <a:off x="4603750" y="3285355"/>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F24F7763-629E-4BA0-84C7-7ADFF6C7F211}"/>
              </a:ext>
            </a:extLst>
          </p:cNvPr>
          <p:cNvSpPr/>
          <p:nvPr/>
        </p:nvSpPr>
        <p:spPr>
          <a:xfrm>
            <a:off x="6711450" y="3118783"/>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4" name="Oval 33">
            <a:extLst>
              <a:ext uri="{FF2B5EF4-FFF2-40B4-BE49-F238E27FC236}">
                <a16:creationId xmlns:a16="http://schemas.microsoft.com/office/drawing/2014/main" id="{7CAA5729-16F8-4013-B47F-C7CD3547C566}"/>
              </a:ext>
            </a:extLst>
          </p:cNvPr>
          <p:cNvSpPr/>
          <p:nvPr/>
        </p:nvSpPr>
        <p:spPr>
          <a:xfrm>
            <a:off x="5103970" y="314029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36" name="Straight Connector 35">
            <a:extLst>
              <a:ext uri="{FF2B5EF4-FFF2-40B4-BE49-F238E27FC236}">
                <a16:creationId xmlns:a16="http://schemas.microsoft.com/office/drawing/2014/main" id="{87CA7E61-3F33-4EB6-960C-4CE280A5ABB6}"/>
              </a:ext>
            </a:extLst>
          </p:cNvPr>
          <p:cNvCxnSpPr>
            <a:cxnSpLocks/>
          </p:cNvCxnSpPr>
          <p:nvPr/>
        </p:nvCxnSpPr>
        <p:spPr>
          <a:xfrm>
            <a:off x="4603750" y="3285355"/>
            <a:ext cx="0" cy="2797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9A3D5EF-43CB-451B-B568-B53480E1D47D}"/>
              </a:ext>
            </a:extLst>
          </p:cNvPr>
          <p:cNvCxnSpPr>
            <a:cxnSpLocks/>
          </p:cNvCxnSpPr>
          <p:nvPr/>
        </p:nvCxnSpPr>
        <p:spPr>
          <a:xfrm>
            <a:off x="7588250" y="327583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D8AC045-C7DE-4588-A7E4-7598C7B20471}"/>
              </a:ext>
            </a:extLst>
          </p:cNvPr>
          <p:cNvCxnSpPr>
            <a:cxnSpLocks/>
          </p:cNvCxnSpPr>
          <p:nvPr/>
        </p:nvCxnSpPr>
        <p:spPr>
          <a:xfrm>
            <a:off x="6013290" y="298097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46457EA-0AC8-4B53-B7D9-BB4DB0EA5BFC}"/>
              </a:ext>
            </a:extLst>
          </p:cNvPr>
          <p:cNvSpPr/>
          <p:nvPr/>
        </p:nvSpPr>
        <p:spPr>
          <a:xfrm>
            <a:off x="6782348" y="3582689"/>
            <a:ext cx="1638300" cy="443824"/>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48" name="TextBox 47">
            <a:extLst>
              <a:ext uri="{FF2B5EF4-FFF2-40B4-BE49-F238E27FC236}">
                <a16:creationId xmlns:a16="http://schemas.microsoft.com/office/drawing/2014/main" id="{4909BCBC-3AEB-405C-B0AE-DCC96A0DCED5}"/>
              </a:ext>
            </a:extLst>
          </p:cNvPr>
          <p:cNvSpPr txBox="1"/>
          <p:nvPr/>
        </p:nvSpPr>
        <p:spPr>
          <a:xfrm>
            <a:off x="6840609" y="3646812"/>
            <a:ext cx="1580039" cy="292388"/>
          </a:xfrm>
          <a:prstGeom prst="rect">
            <a:avLst/>
          </a:prstGeom>
          <a:noFill/>
        </p:spPr>
        <p:txBody>
          <a:bodyPr wrap="square" lIns="0" tIns="0" rIns="0" bIns="0" rtlCol="0">
            <a:spAutoFit/>
          </a:bodyPr>
          <a:lstStyle/>
          <a:p>
            <a:pPr algn="l"/>
            <a:r>
              <a:rPr lang="nl-NL" sz="1000" b="1" dirty="0"/>
              <a:t>Is er een redelijke vergoeding aangeboden?</a:t>
            </a:r>
          </a:p>
        </p:txBody>
      </p:sp>
      <p:cxnSp>
        <p:nvCxnSpPr>
          <p:cNvPr id="52" name="Straight Connector 51">
            <a:extLst>
              <a:ext uri="{FF2B5EF4-FFF2-40B4-BE49-F238E27FC236}">
                <a16:creationId xmlns:a16="http://schemas.microsoft.com/office/drawing/2014/main" id="{9E53E2B1-38C6-4933-88F0-A94EAD24EAC7}"/>
              </a:ext>
            </a:extLst>
          </p:cNvPr>
          <p:cNvCxnSpPr>
            <a:cxnSpLocks/>
          </p:cNvCxnSpPr>
          <p:nvPr/>
        </p:nvCxnSpPr>
        <p:spPr>
          <a:xfrm>
            <a:off x="7610867" y="4037233"/>
            <a:ext cx="1011" cy="3088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9968F71-9C41-43FD-B0B5-FC38E4580903}"/>
              </a:ext>
            </a:extLst>
          </p:cNvPr>
          <p:cNvCxnSpPr>
            <a:cxnSpLocks/>
          </p:cNvCxnSpPr>
          <p:nvPr/>
        </p:nvCxnSpPr>
        <p:spPr>
          <a:xfrm>
            <a:off x="6106481" y="4345791"/>
            <a:ext cx="3003777" cy="952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16D10688-034F-4D36-8F4B-546B50EB2B89}"/>
              </a:ext>
            </a:extLst>
          </p:cNvPr>
          <p:cNvSpPr/>
          <p:nvPr/>
        </p:nvSpPr>
        <p:spPr>
          <a:xfrm>
            <a:off x="6625978" y="4195198"/>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57" name="TextBox 56">
            <a:extLst>
              <a:ext uri="{FF2B5EF4-FFF2-40B4-BE49-F238E27FC236}">
                <a16:creationId xmlns:a16="http://schemas.microsoft.com/office/drawing/2014/main" id="{D51D173E-97B3-4876-A8C8-E38877D92E8B}"/>
              </a:ext>
            </a:extLst>
          </p:cNvPr>
          <p:cNvSpPr txBox="1"/>
          <p:nvPr/>
        </p:nvSpPr>
        <p:spPr>
          <a:xfrm>
            <a:off x="6676778" y="4282219"/>
            <a:ext cx="238760" cy="146194"/>
          </a:xfrm>
          <a:prstGeom prst="rect">
            <a:avLst/>
          </a:prstGeom>
          <a:noFill/>
        </p:spPr>
        <p:txBody>
          <a:bodyPr wrap="square" lIns="0" tIns="0" rIns="0" bIns="0" rtlCol="0">
            <a:spAutoFit/>
          </a:bodyPr>
          <a:lstStyle/>
          <a:p>
            <a:pPr algn="ctr"/>
            <a:r>
              <a:rPr lang="nl-NL" sz="1000" b="1" dirty="0"/>
              <a:t>Nee</a:t>
            </a:r>
          </a:p>
        </p:txBody>
      </p:sp>
      <p:cxnSp>
        <p:nvCxnSpPr>
          <p:cNvPr id="58" name="Straight Connector 57">
            <a:extLst>
              <a:ext uri="{FF2B5EF4-FFF2-40B4-BE49-F238E27FC236}">
                <a16:creationId xmlns:a16="http://schemas.microsoft.com/office/drawing/2014/main" id="{CDA9C1FF-36D9-4166-88DA-331CA02D1C71}"/>
              </a:ext>
            </a:extLst>
          </p:cNvPr>
          <p:cNvCxnSpPr>
            <a:cxnSpLocks/>
          </p:cNvCxnSpPr>
          <p:nvPr/>
        </p:nvCxnSpPr>
        <p:spPr>
          <a:xfrm>
            <a:off x="6106481" y="4345791"/>
            <a:ext cx="0" cy="173713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213441D-DC04-4B32-9BCF-EA973FC849BB}"/>
              </a:ext>
            </a:extLst>
          </p:cNvPr>
          <p:cNvCxnSpPr>
            <a:cxnSpLocks/>
          </p:cNvCxnSpPr>
          <p:nvPr/>
        </p:nvCxnSpPr>
        <p:spPr>
          <a:xfrm>
            <a:off x="9110258" y="4345791"/>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B545E02-BCF2-4EC2-BBD5-98D3F32104CA}"/>
              </a:ext>
            </a:extLst>
          </p:cNvPr>
          <p:cNvSpPr/>
          <p:nvPr/>
        </p:nvSpPr>
        <p:spPr>
          <a:xfrm>
            <a:off x="8244360" y="4646093"/>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1" name="TextBox 60">
            <a:extLst>
              <a:ext uri="{FF2B5EF4-FFF2-40B4-BE49-F238E27FC236}">
                <a16:creationId xmlns:a16="http://schemas.microsoft.com/office/drawing/2014/main" id="{659B583B-09BC-4D14-9579-97F609300A5C}"/>
              </a:ext>
            </a:extLst>
          </p:cNvPr>
          <p:cNvSpPr txBox="1"/>
          <p:nvPr/>
        </p:nvSpPr>
        <p:spPr>
          <a:xfrm>
            <a:off x="8301385" y="4701787"/>
            <a:ext cx="1727519" cy="438582"/>
          </a:xfrm>
          <a:prstGeom prst="rect">
            <a:avLst/>
          </a:prstGeom>
          <a:noFill/>
        </p:spPr>
        <p:txBody>
          <a:bodyPr wrap="square" lIns="0" tIns="0" rIns="0" bIns="0" rtlCol="0">
            <a:spAutoFit/>
          </a:bodyPr>
          <a:lstStyle/>
          <a:p>
            <a:pPr algn="l"/>
            <a:r>
              <a:rPr lang="nl-NL" sz="1000" b="1" dirty="0"/>
              <a:t>Is er sprake van bijkomende omstandigheden, die zwaarder wegen?</a:t>
            </a:r>
          </a:p>
        </p:txBody>
      </p:sp>
      <p:cxnSp>
        <p:nvCxnSpPr>
          <p:cNvPr id="62" name="Straight Connector 61">
            <a:extLst>
              <a:ext uri="{FF2B5EF4-FFF2-40B4-BE49-F238E27FC236}">
                <a16:creationId xmlns:a16="http://schemas.microsoft.com/office/drawing/2014/main" id="{EDAF109D-26E9-45E1-8D17-2A9423007A9A}"/>
              </a:ext>
            </a:extLst>
          </p:cNvPr>
          <p:cNvCxnSpPr>
            <a:cxnSpLocks/>
          </p:cNvCxnSpPr>
          <p:nvPr/>
        </p:nvCxnSpPr>
        <p:spPr>
          <a:xfrm>
            <a:off x="9114958" y="5246605"/>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CEFBA0-B0ED-452C-A609-30B25281605A}"/>
              </a:ext>
            </a:extLst>
          </p:cNvPr>
          <p:cNvCxnSpPr>
            <a:cxnSpLocks/>
          </p:cNvCxnSpPr>
          <p:nvPr/>
        </p:nvCxnSpPr>
        <p:spPr>
          <a:xfrm>
            <a:off x="7716826" y="555252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7D0992D6-462A-4474-A14F-0FBAE2C87A75}"/>
              </a:ext>
            </a:extLst>
          </p:cNvPr>
          <p:cNvSpPr/>
          <p:nvPr/>
        </p:nvSpPr>
        <p:spPr>
          <a:xfrm>
            <a:off x="9832646" y="538288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5" name="TextBox 64">
            <a:extLst>
              <a:ext uri="{FF2B5EF4-FFF2-40B4-BE49-F238E27FC236}">
                <a16:creationId xmlns:a16="http://schemas.microsoft.com/office/drawing/2014/main" id="{DCB6607F-A6C4-4385-9E9D-45333D3A096A}"/>
              </a:ext>
            </a:extLst>
          </p:cNvPr>
          <p:cNvSpPr txBox="1"/>
          <p:nvPr/>
        </p:nvSpPr>
        <p:spPr>
          <a:xfrm>
            <a:off x="9883446" y="546990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66" name="Oval 65">
            <a:extLst>
              <a:ext uri="{FF2B5EF4-FFF2-40B4-BE49-F238E27FC236}">
                <a16:creationId xmlns:a16="http://schemas.microsoft.com/office/drawing/2014/main" id="{856D15A6-66C5-45CD-83FA-64B16EB1ECCC}"/>
              </a:ext>
            </a:extLst>
          </p:cNvPr>
          <p:cNvSpPr/>
          <p:nvPr/>
        </p:nvSpPr>
        <p:spPr>
          <a:xfrm>
            <a:off x="8217046" y="539240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7" name="TextBox 66">
            <a:extLst>
              <a:ext uri="{FF2B5EF4-FFF2-40B4-BE49-F238E27FC236}">
                <a16:creationId xmlns:a16="http://schemas.microsoft.com/office/drawing/2014/main" id="{DF68BA85-9274-4715-92A3-96CA0BE6FCFD}"/>
              </a:ext>
            </a:extLst>
          </p:cNvPr>
          <p:cNvSpPr txBox="1"/>
          <p:nvPr/>
        </p:nvSpPr>
        <p:spPr>
          <a:xfrm>
            <a:off x="8267846" y="5479427"/>
            <a:ext cx="238760" cy="146194"/>
          </a:xfrm>
          <a:prstGeom prst="rect">
            <a:avLst/>
          </a:prstGeom>
          <a:noFill/>
        </p:spPr>
        <p:txBody>
          <a:bodyPr wrap="square" lIns="0" tIns="0" rIns="0" bIns="0" rtlCol="0">
            <a:spAutoFit/>
          </a:bodyPr>
          <a:lstStyle/>
          <a:p>
            <a:pPr algn="ctr"/>
            <a:r>
              <a:rPr lang="nl-NL" sz="1000" b="1" dirty="0"/>
              <a:t>Nee</a:t>
            </a:r>
          </a:p>
        </p:txBody>
      </p:sp>
      <p:cxnSp>
        <p:nvCxnSpPr>
          <p:cNvPr id="68" name="Straight Connector 67">
            <a:extLst>
              <a:ext uri="{FF2B5EF4-FFF2-40B4-BE49-F238E27FC236}">
                <a16:creationId xmlns:a16="http://schemas.microsoft.com/office/drawing/2014/main" id="{C049A8CB-01C0-4441-B1CD-012C77785216}"/>
              </a:ext>
            </a:extLst>
          </p:cNvPr>
          <p:cNvCxnSpPr>
            <a:cxnSpLocks/>
          </p:cNvCxnSpPr>
          <p:nvPr/>
        </p:nvCxnSpPr>
        <p:spPr>
          <a:xfrm>
            <a:off x="7716826" y="5550747"/>
            <a:ext cx="0" cy="54108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C16183-5358-4CAB-A9D2-E7CBDA05A482}"/>
              </a:ext>
            </a:extLst>
          </p:cNvPr>
          <p:cNvSpPr txBox="1"/>
          <p:nvPr/>
        </p:nvSpPr>
        <p:spPr>
          <a:xfrm>
            <a:off x="5144609" y="3243600"/>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71" name="TextBox 70">
            <a:extLst>
              <a:ext uri="{FF2B5EF4-FFF2-40B4-BE49-F238E27FC236}">
                <a16:creationId xmlns:a16="http://schemas.microsoft.com/office/drawing/2014/main" id="{CECE2BE7-83E9-4AC5-A603-173BD6215BEB}"/>
              </a:ext>
            </a:extLst>
          </p:cNvPr>
          <p:cNvSpPr txBox="1"/>
          <p:nvPr/>
        </p:nvSpPr>
        <p:spPr>
          <a:xfrm>
            <a:off x="6762250" y="3194760"/>
            <a:ext cx="238760" cy="146194"/>
          </a:xfrm>
          <a:prstGeom prst="rect">
            <a:avLst/>
          </a:prstGeom>
          <a:noFill/>
        </p:spPr>
        <p:txBody>
          <a:bodyPr wrap="square" lIns="0" tIns="0" rIns="0" bIns="0" rtlCol="0">
            <a:spAutoFit/>
          </a:bodyPr>
          <a:lstStyle/>
          <a:p>
            <a:pPr algn="ctr"/>
            <a:r>
              <a:rPr lang="nl-NL" sz="1000" b="1" dirty="0"/>
              <a:t>Nee</a:t>
            </a:r>
          </a:p>
        </p:txBody>
      </p:sp>
      <p:sp>
        <p:nvSpPr>
          <p:cNvPr id="75" name="TextBox 74">
            <a:extLst>
              <a:ext uri="{FF2B5EF4-FFF2-40B4-BE49-F238E27FC236}">
                <a16:creationId xmlns:a16="http://schemas.microsoft.com/office/drawing/2014/main" id="{88A9D700-3A8D-4CA3-AA7F-E87251976D43}"/>
              </a:ext>
            </a:extLst>
          </p:cNvPr>
          <p:cNvSpPr txBox="1"/>
          <p:nvPr/>
        </p:nvSpPr>
        <p:spPr>
          <a:xfrm>
            <a:off x="7002607" y="2457987"/>
            <a:ext cx="2384827" cy="292388"/>
          </a:xfrm>
          <a:prstGeom prst="rect">
            <a:avLst/>
          </a:prstGeom>
          <a:noFill/>
        </p:spPr>
        <p:txBody>
          <a:bodyPr wrap="square" lIns="0" tIns="0" rIns="0" bIns="0" rtlCol="0">
            <a:spAutoFit/>
          </a:bodyPr>
          <a:lstStyle/>
          <a:p>
            <a:pPr algn="l"/>
            <a:r>
              <a:rPr lang="nl-NL" sz="1000" b="1" dirty="0"/>
              <a:t>- Bijvoorbeeld de grote informatieve waarde van de publicatie</a:t>
            </a:r>
          </a:p>
        </p:txBody>
      </p:sp>
      <p:sp>
        <p:nvSpPr>
          <p:cNvPr id="78" name="TextBox 77">
            <a:extLst>
              <a:ext uri="{FF2B5EF4-FFF2-40B4-BE49-F238E27FC236}">
                <a16:creationId xmlns:a16="http://schemas.microsoft.com/office/drawing/2014/main" id="{9F933D8F-59AF-4C1C-A767-2A59455D5382}"/>
              </a:ext>
            </a:extLst>
          </p:cNvPr>
          <p:cNvSpPr txBox="1"/>
          <p:nvPr/>
        </p:nvSpPr>
        <p:spPr>
          <a:xfrm>
            <a:off x="10177377" y="4704117"/>
            <a:ext cx="1489028" cy="584775"/>
          </a:xfrm>
          <a:prstGeom prst="rect">
            <a:avLst/>
          </a:prstGeom>
          <a:noFill/>
        </p:spPr>
        <p:txBody>
          <a:bodyPr wrap="square" lIns="0" tIns="0" rIns="0" bIns="0" rtlCol="0">
            <a:spAutoFit/>
          </a:bodyPr>
          <a:lstStyle/>
          <a:p>
            <a:pPr algn="l"/>
            <a:r>
              <a:rPr lang="nl-NL" sz="1000" b="1" dirty="0"/>
              <a:t>- Bijvoorbeeld de publicatie is schadelijk voor de wijze van exploitatie</a:t>
            </a:r>
          </a:p>
        </p:txBody>
      </p:sp>
      <p:cxnSp>
        <p:nvCxnSpPr>
          <p:cNvPr id="88" name="Straight Connector 87">
            <a:extLst>
              <a:ext uri="{FF2B5EF4-FFF2-40B4-BE49-F238E27FC236}">
                <a16:creationId xmlns:a16="http://schemas.microsoft.com/office/drawing/2014/main" id="{9442AA6A-6C6F-4896-A7E3-CEDC647722F7}"/>
              </a:ext>
            </a:extLst>
          </p:cNvPr>
          <p:cNvCxnSpPr>
            <a:cxnSpLocks/>
          </p:cNvCxnSpPr>
          <p:nvPr/>
        </p:nvCxnSpPr>
        <p:spPr>
          <a:xfrm>
            <a:off x="10701326" y="5552524"/>
            <a:ext cx="0" cy="5304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4E50DD30-37F1-4477-9100-943D3E575285}"/>
              </a:ext>
            </a:extLst>
          </p:cNvPr>
          <p:cNvSpPr/>
          <p:nvPr/>
        </p:nvSpPr>
        <p:spPr>
          <a:xfrm>
            <a:off x="9910976" y="5845157"/>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2" name="TextBox 91">
            <a:extLst>
              <a:ext uri="{FF2B5EF4-FFF2-40B4-BE49-F238E27FC236}">
                <a16:creationId xmlns:a16="http://schemas.microsoft.com/office/drawing/2014/main" id="{0C7EEA12-6367-43CC-B3CD-47EF404540A5}"/>
              </a:ext>
            </a:extLst>
          </p:cNvPr>
          <p:cNvSpPr txBox="1"/>
          <p:nvPr/>
        </p:nvSpPr>
        <p:spPr>
          <a:xfrm>
            <a:off x="10013683" y="5908450"/>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95" name="Rectangle 94">
            <a:extLst>
              <a:ext uri="{FF2B5EF4-FFF2-40B4-BE49-F238E27FC236}">
                <a16:creationId xmlns:a16="http://schemas.microsoft.com/office/drawing/2014/main" id="{7924FFC3-A9B8-440C-8CB6-DBFB25D4FC59}"/>
              </a:ext>
            </a:extLst>
          </p:cNvPr>
          <p:cNvSpPr/>
          <p:nvPr/>
        </p:nvSpPr>
        <p:spPr>
          <a:xfrm>
            <a:off x="3775489" y="5837409"/>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6" name="TextBox 95">
            <a:extLst>
              <a:ext uri="{FF2B5EF4-FFF2-40B4-BE49-F238E27FC236}">
                <a16:creationId xmlns:a16="http://schemas.microsoft.com/office/drawing/2014/main" id="{1691F3B4-2E76-4EA7-B05B-E7D3D79F1CDB}"/>
              </a:ext>
            </a:extLst>
          </p:cNvPr>
          <p:cNvSpPr txBox="1"/>
          <p:nvPr/>
        </p:nvSpPr>
        <p:spPr>
          <a:xfrm>
            <a:off x="3878195" y="5900702"/>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98" name="Rectangle 97">
            <a:extLst>
              <a:ext uri="{FF2B5EF4-FFF2-40B4-BE49-F238E27FC236}">
                <a16:creationId xmlns:a16="http://schemas.microsoft.com/office/drawing/2014/main" id="{65874EB7-8523-4BBE-9063-E396A3CD365B}"/>
              </a:ext>
            </a:extLst>
          </p:cNvPr>
          <p:cNvSpPr/>
          <p:nvPr/>
        </p:nvSpPr>
        <p:spPr>
          <a:xfrm>
            <a:off x="7317653" y="5851723"/>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9" name="TextBox 98">
            <a:extLst>
              <a:ext uri="{FF2B5EF4-FFF2-40B4-BE49-F238E27FC236}">
                <a16:creationId xmlns:a16="http://schemas.microsoft.com/office/drawing/2014/main" id="{C2B4C830-1606-4459-BA48-B3616C21F373}"/>
              </a:ext>
            </a:extLst>
          </p:cNvPr>
          <p:cNvSpPr txBox="1"/>
          <p:nvPr/>
        </p:nvSpPr>
        <p:spPr>
          <a:xfrm>
            <a:off x="7478075" y="5915016"/>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101" name="Rectangle 100">
            <a:extLst>
              <a:ext uri="{FF2B5EF4-FFF2-40B4-BE49-F238E27FC236}">
                <a16:creationId xmlns:a16="http://schemas.microsoft.com/office/drawing/2014/main" id="{18D2BBA3-1CFD-44B6-A9E3-2D3BA0B7354D}"/>
              </a:ext>
            </a:extLst>
          </p:cNvPr>
          <p:cNvSpPr/>
          <p:nvPr/>
        </p:nvSpPr>
        <p:spPr>
          <a:xfrm>
            <a:off x="5539015" y="5830550"/>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2" name="TextBox 101">
            <a:extLst>
              <a:ext uri="{FF2B5EF4-FFF2-40B4-BE49-F238E27FC236}">
                <a16:creationId xmlns:a16="http://schemas.microsoft.com/office/drawing/2014/main" id="{83A5AAE7-12D9-4338-A31E-4960F204A60F}"/>
              </a:ext>
            </a:extLst>
          </p:cNvPr>
          <p:cNvSpPr txBox="1"/>
          <p:nvPr/>
        </p:nvSpPr>
        <p:spPr>
          <a:xfrm>
            <a:off x="5641722" y="5893843"/>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06" name="Rectangle 105">
            <a:extLst>
              <a:ext uri="{FF2B5EF4-FFF2-40B4-BE49-F238E27FC236}">
                <a16:creationId xmlns:a16="http://schemas.microsoft.com/office/drawing/2014/main" id="{451E2EB0-C06D-4FF8-86B2-4AD4B5CD2271}"/>
              </a:ext>
            </a:extLst>
          </p:cNvPr>
          <p:cNvSpPr/>
          <p:nvPr/>
        </p:nvSpPr>
        <p:spPr>
          <a:xfrm>
            <a:off x="9910976" y="5837409"/>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7" name="TextBox 106">
            <a:extLst>
              <a:ext uri="{FF2B5EF4-FFF2-40B4-BE49-F238E27FC236}">
                <a16:creationId xmlns:a16="http://schemas.microsoft.com/office/drawing/2014/main" id="{609E68FE-A3F3-428A-8593-ED604F2FE595}"/>
              </a:ext>
            </a:extLst>
          </p:cNvPr>
          <p:cNvSpPr txBox="1"/>
          <p:nvPr/>
        </p:nvSpPr>
        <p:spPr>
          <a:xfrm>
            <a:off x="10013683" y="5900702"/>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24" name="Rectangle 123">
            <a:extLst>
              <a:ext uri="{FF2B5EF4-FFF2-40B4-BE49-F238E27FC236}">
                <a16:creationId xmlns:a16="http://schemas.microsoft.com/office/drawing/2014/main" id="{C8B8F766-1712-4473-87E4-3C7830A939E3}"/>
              </a:ext>
            </a:extLst>
          </p:cNvPr>
          <p:cNvSpPr/>
          <p:nvPr/>
        </p:nvSpPr>
        <p:spPr>
          <a:xfrm>
            <a:off x="1866934" y="2418605"/>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5" name="TextBox 124">
            <a:extLst>
              <a:ext uri="{FF2B5EF4-FFF2-40B4-BE49-F238E27FC236}">
                <a16:creationId xmlns:a16="http://schemas.microsoft.com/office/drawing/2014/main" id="{30FDF0AB-28BD-428B-B668-8463A9ACF6F0}"/>
              </a:ext>
            </a:extLst>
          </p:cNvPr>
          <p:cNvSpPr txBox="1"/>
          <p:nvPr/>
        </p:nvSpPr>
        <p:spPr>
          <a:xfrm>
            <a:off x="1923959" y="2474299"/>
            <a:ext cx="1727519" cy="438582"/>
          </a:xfrm>
          <a:prstGeom prst="rect">
            <a:avLst/>
          </a:prstGeom>
          <a:noFill/>
        </p:spPr>
        <p:txBody>
          <a:bodyPr wrap="square" lIns="0" tIns="0" rIns="0" bIns="0" rtlCol="0">
            <a:spAutoFit/>
          </a:bodyPr>
          <a:lstStyle/>
          <a:p>
            <a:pPr algn="l"/>
            <a:r>
              <a:rPr lang="nl-NL" sz="1000" b="1" dirty="0"/>
              <a:t>Is er sprake van een privacybelang dat zwaarder weegt</a:t>
            </a:r>
          </a:p>
        </p:txBody>
      </p:sp>
      <p:cxnSp>
        <p:nvCxnSpPr>
          <p:cNvPr id="126" name="Straight Connector 125">
            <a:extLst>
              <a:ext uri="{FF2B5EF4-FFF2-40B4-BE49-F238E27FC236}">
                <a16:creationId xmlns:a16="http://schemas.microsoft.com/office/drawing/2014/main" id="{F972DA0F-5EA6-4B15-9BEC-6DDF1E5AEA5B}"/>
              </a:ext>
            </a:extLst>
          </p:cNvPr>
          <p:cNvCxnSpPr>
            <a:cxnSpLocks/>
          </p:cNvCxnSpPr>
          <p:nvPr/>
        </p:nvCxnSpPr>
        <p:spPr>
          <a:xfrm>
            <a:off x="1281826" y="3345747"/>
            <a:ext cx="288361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0D0A9401-8F6A-4DC2-BA84-120FF7BA7FF8}"/>
              </a:ext>
            </a:extLst>
          </p:cNvPr>
          <p:cNvSpPr/>
          <p:nvPr/>
        </p:nvSpPr>
        <p:spPr>
          <a:xfrm>
            <a:off x="3406456" y="3203950"/>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8" name="Oval 127">
            <a:extLst>
              <a:ext uri="{FF2B5EF4-FFF2-40B4-BE49-F238E27FC236}">
                <a16:creationId xmlns:a16="http://schemas.microsoft.com/office/drawing/2014/main" id="{8D9FCA63-2306-4637-A5E8-7D4217718489}"/>
              </a:ext>
            </a:extLst>
          </p:cNvPr>
          <p:cNvSpPr/>
          <p:nvPr/>
        </p:nvSpPr>
        <p:spPr>
          <a:xfrm>
            <a:off x="1782046" y="320069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129" name="Straight Connector 128">
            <a:extLst>
              <a:ext uri="{FF2B5EF4-FFF2-40B4-BE49-F238E27FC236}">
                <a16:creationId xmlns:a16="http://schemas.microsoft.com/office/drawing/2014/main" id="{AFA73E03-443B-461C-9E6E-C15745CB4411}"/>
              </a:ext>
            </a:extLst>
          </p:cNvPr>
          <p:cNvCxnSpPr>
            <a:cxnSpLocks/>
          </p:cNvCxnSpPr>
          <p:nvPr/>
        </p:nvCxnSpPr>
        <p:spPr>
          <a:xfrm>
            <a:off x="2710697" y="3017464"/>
            <a:ext cx="0" cy="315503"/>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AC68ED0-A10B-4E1E-94E7-1A0F2DE415B2}"/>
              </a:ext>
            </a:extLst>
          </p:cNvPr>
          <p:cNvSpPr txBox="1"/>
          <p:nvPr/>
        </p:nvSpPr>
        <p:spPr>
          <a:xfrm>
            <a:off x="1822685" y="330399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131" name="TextBox 130">
            <a:extLst>
              <a:ext uri="{FF2B5EF4-FFF2-40B4-BE49-F238E27FC236}">
                <a16:creationId xmlns:a16="http://schemas.microsoft.com/office/drawing/2014/main" id="{47EF5ED5-8802-4DD6-928D-9545D4046563}"/>
              </a:ext>
            </a:extLst>
          </p:cNvPr>
          <p:cNvSpPr txBox="1"/>
          <p:nvPr/>
        </p:nvSpPr>
        <p:spPr>
          <a:xfrm>
            <a:off x="3457256" y="3279927"/>
            <a:ext cx="238760" cy="146194"/>
          </a:xfrm>
          <a:prstGeom prst="rect">
            <a:avLst/>
          </a:prstGeom>
          <a:noFill/>
        </p:spPr>
        <p:txBody>
          <a:bodyPr wrap="square" lIns="0" tIns="0" rIns="0" bIns="0" rtlCol="0">
            <a:spAutoFit/>
          </a:bodyPr>
          <a:lstStyle/>
          <a:p>
            <a:pPr algn="ctr"/>
            <a:r>
              <a:rPr lang="nl-NL" sz="1000" b="1" dirty="0"/>
              <a:t>Nee</a:t>
            </a:r>
          </a:p>
        </p:txBody>
      </p:sp>
      <p:cxnSp>
        <p:nvCxnSpPr>
          <p:cNvPr id="139" name="Straight Connector 138">
            <a:extLst>
              <a:ext uri="{FF2B5EF4-FFF2-40B4-BE49-F238E27FC236}">
                <a16:creationId xmlns:a16="http://schemas.microsoft.com/office/drawing/2014/main" id="{0CAB89A0-F10C-4137-946E-D5384CA9F81C}"/>
              </a:ext>
            </a:extLst>
          </p:cNvPr>
          <p:cNvCxnSpPr>
            <a:cxnSpLocks/>
          </p:cNvCxnSpPr>
          <p:nvPr/>
        </p:nvCxnSpPr>
        <p:spPr>
          <a:xfrm>
            <a:off x="4165440" y="3345747"/>
            <a:ext cx="0" cy="249166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AAF164F-4380-4357-AFD6-527FDEF78A25}"/>
              </a:ext>
            </a:extLst>
          </p:cNvPr>
          <p:cNvCxnSpPr>
            <a:cxnSpLocks/>
          </p:cNvCxnSpPr>
          <p:nvPr/>
        </p:nvCxnSpPr>
        <p:spPr>
          <a:xfrm>
            <a:off x="1281826" y="3332967"/>
            <a:ext cx="0" cy="2753837"/>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2123B680-F3A0-4A7B-B1EA-D77822697EA2}"/>
              </a:ext>
            </a:extLst>
          </p:cNvPr>
          <p:cNvSpPr/>
          <p:nvPr/>
        </p:nvSpPr>
        <p:spPr>
          <a:xfrm>
            <a:off x="700596" y="5828503"/>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3" name="TextBox 142">
            <a:extLst>
              <a:ext uri="{FF2B5EF4-FFF2-40B4-BE49-F238E27FC236}">
                <a16:creationId xmlns:a16="http://schemas.microsoft.com/office/drawing/2014/main" id="{6A3D137E-0FA2-498B-80D1-3A9B84EC13EB}"/>
              </a:ext>
            </a:extLst>
          </p:cNvPr>
          <p:cNvSpPr txBox="1"/>
          <p:nvPr/>
        </p:nvSpPr>
        <p:spPr>
          <a:xfrm>
            <a:off x="803303" y="5891796"/>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45" name="TextBox 144">
            <a:extLst>
              <a:ext uri="{FF2B5EF4-FFF2-40B4-BE49-F238E27FC236}">
                <a16:creationId xmlns:a16="http://schemas.microsoft.com/office/drawing/2014/main" id="{1DEBE77C-D20E-4E17-821E-E37406F92D45}"/>
              </a:ext>
            </a:extLst>
          </p:cNvPr>
          <p:cNvSpPr txBox="1"/>
          <p:nvPr/>
        </p:nvSpPr>
        <p:spPr>
          <a:xfrm>
            <a:off x="305318" y="2432689"/>
            <a:ext cx="1509486" cy="584775"/>
          </a:xfrm>
          <a:prstGeom prst="rect">
            <a:avLst/>
          </a:prstGeom>
          <a:noFill/>
        </p:spPr>
        <p:txBody>
          <a:bodyPr wrap="square" lIns="0" tIns="0" rIns="0" bIns="0" rtlCol="0">
            <a:spAutoFit/>
          </a:bodyPr>
          <a:lstStyle/>
          <a:p>
            <a:pPr algn="l"/>
            <a:r>
              <a:rPr lang="nl-NL" sz="1000" b="1" dirty="0"/>
              <a:t>- Bijvoorbeeld ongewenste  associatie met een commercieel product</a:t>
            </a:r>
          </a:p>
        </p:txBody>
      </p:sp>
      <p:sp>
        <p:nvSpPr>
          <p:cNvPr id="147" name="Title 4">
            <a:extLst>
              <a:ext uri="{FF2B5EF4-FFF2-40B4-BE49-F238E27FC236}">
                <a16:creationId xmlns:a16="http://schemas.microsoft.com/office/drawing/2014/main" id="{DFB8379B-C52C-44B1-9975-E4C1FA19CCDF}"/>
              </a:ext>
            </a:extLst>
          </p:cNvPr>
          <p:cNvSpPr txBox="1">
            <a:spLocks/>
          </p:cNvSpPr>
          <p:nvPr/>
        </p:nvSpPr>
        <p:spPr>
          <a:xfrm>
            <a:off x="576262" y="295270"/>
            <a:ext cx="10752137" cy="720000"/>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a:lstStyle>
          <a:p>
            <a:pPr>
              <a:buFontTx/>
            </a:pPr>
            <a:r>
              <a:rPr lang="en-GB" altLang="en-US" dirty="0" err="1"/>
              <a:t>Stroomschema</a:t>
            </a:r>
            <a:r>
              <a:rPr lang="en-GB" altLang="en-US" dirty="0"/>
              <a:t> (</a:t>
            </a:r>
            <a:r>
              <a:rPr lang="en-GB" altLang="en-US" dirty="0" err="1"/>
              <a:t>Geerts</a:t>
            </a:r>
            <a:r>
              <a:rPr lang="en-GB" altLang="en-US" dirty="0"/>
              <a:t>, </a:t>
            </a:r>
            <a:r>
              <a:rPr lang="en-GB" altLang="en-US" dirty="0" err="1"/>
              <a:t>Hugenholtz</a:t>
            </a:r>
            <a:r>
              <a:rPr lang="en-GB" altLang="en-US" dirty="0"/>
              <a:t> en Visser)</a:t>
            </a:r>
            <a:endParaRPr lang="en-GB" dirty="0"/>
          </a:p>
        </p:txBody>
      </p:sp>
      <p:cxnSp>
        <p:nvCxnSpPr>
          <p:cNvPr id="155" name="Straight Connector 154">
            <a:extLst>
              <a:ext uri="{FF2B5EF4-FFF2-40B4-BE49-F238E27FC236}">
                <a16:creationId xmlns:a16="http://schemas.microsoft.com/office/drawing/2014/main" id="{03B7BE4A-CF65-4512-A89A-948616AED39F}"/>
              </a:ext>
            </a:extLst>
          </p:cNvPr>
          <p:cNvCxnSpPr>
            <a:cxnSpLocks/>
          </p:cNvCxnSpPr>
          <p:nvPr/>
        </p:nvCxnSpPr>
        <p:spPr>
          <a:xfrm>
            <a:off x="4165440" y="1855829"/>
            <a:ext cx="0" cy="30113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0B4CD8B-F415-4A5D-AE6D-3787E6038458}"/>
              </a:ext>
            </a:extLst>
          </p:cNvPr>
          <p:cNvCxnSpPr>
            <a:cxnSpLocks/>
          </p:cNvCxnSpPr>
          <p:nvPr/>
        </p:nvCxnSpPr>
        <p:spPr>
          <a:xfrm flipH="1">
            <a:off x="4137286" y="2141084"/>
            <a:ext cx="657225"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98E1487-A1C3-4BCC-8195-A5C1F2136655}"/>
              </a:ext>
            </a:extLst>
          </p:cNvPr>
          <p:cNvCxnSpPr>
            <a:cxnSpLocks/>
          </p:cNvCxnSpPr>
          <p:nvPr/>
        </p:nvCxnSpPr>
        <p:spPr>
          <a:xfrm flipH="1">
            <a:off x="5175566" y="2141084"/>
            <a:ext cx="530170"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70868ED-BC16-482B-A7F9-C0C548EF9F78}"/>
              </a:ext>
            </a:extLst>
          </p:cNvPr>
          <p:cNvCxnSpPr>
            <a:cxnSpLocks/>
          </p:cNvCxnSpPr>
          <p:nvPr/>
        </p:nvCxnSpPr>
        <p:spPr>
          <a:xfrm>
            <a:off x="5683090" y="2114124"/>
            <a:ext cx="0" cy="290554"/>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A5B47A23-BE8A-4F96-89D0-6CAC7FF93FD4}"/>
              </a:ext>
            </a:extLst>
          </p:cNvPr>
          <p:cNvCxnSpPr>
            <a:cxnSpLocks/>
          </p:cNvCxnSpPr>
          <p:nvPr/>
        </p:nvCxnSpPr>
        <p:spPr>
          <a:xfrm>
            <a:off x="6013290" y="2980970"/>
            <a:ext cx="0" cy="298957"/>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2D18A667-30A4-49C8-A1FB-8E8DBB5CF163}"/>
              </a:ext>
            </a:extLst>
          </p:cNvPr>
          <p:cNvCxnSpPr>
            <a:cxnSpLocks/>
          </p:cNvCxnSpPr>
          <p:nvPr/>
        </p:nvCxnSpPr>
        <p:spPr>
          <a:xfrm flipH="1">
            <a:off x="5985136" y="3279927"/>
            <a:ext cx="708025"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2622013-BDDC-43F7-9C74-6A32E792A4A8}"/>
              </a:ext>
            </a:extLst>
          </p:cNvPr>
          <p:cNvCxnSpPr>
            <a:cxnSpLocks/>
          </p:cNvCxnSpPr>
          <p:nvPr/>
        </p:nvCxnSpPr>
        <p:spPr>
          <a:xfrm flipH="1">
            <a:off x="7072313" y="3279927"/>
            <a:ext cx="536836"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C9ACBD1B-E0E3-47A6-8AF5-6884094388FE}"/>
              </a:ext>
            </a:extLst>
          </p:cNvPr>
          <p:cNvCxnSpPr>
            <a:cxnSpLocks/>
          </p:cNvCxnSpPr>
          <p:nvPr/>
        </p:nvCxnSpPr>
        <p:spPr>
          <a:xfrm>
            <a:off x="7592319" y="3255863"/>
            <a:ext cx="0" cy="311572"/>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71DBDA2A-270E-48AE-BDA5-732D1A4DEA97}"/>
              </a:ext>
            </a:extLst>
          </p:cNvPr>
          <p:cNvCxnSpPr>
            <a:cxnSpLocks/>
          </p:cNvCxnSpPr>
          <p:nvPr/>
        </p:nvCxnSpPr>
        <p:spPr>
          <a:xfrm>
            <a:off x="7617998" y="4039412"/>
            <a:ext cx="0" cy="315904"/>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B407C825-E6E8-42CD-8F5B-5C29136052F5}"/>
              </a:ext>
            </a:extLst>
          </p:cNvPr>
          <p:cNvCxnSpPr>
            <a:cxnSpLocks/>
          </p:cNvCxnSpPr>
          <p:nvPr/>
        </p:nvCxnSpPr>
        <p:spPr>
          <a:xfrm flipH="1" flipV="1">
            <a:off x="7588250" y="4345791"/>
            <a:ext cx="653328" cy="1"/>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96" name="Oval 195">
            <a:extLst>
              <a:ext uri="{FF2B5EF4-FFF2-40B4-BE49-F238E27FC236}">
                <a16:creationId xmlns:a16="http://schemas.microsoft.com/office/drawing/2014/main" id="{FF94D867-3801-4519-BB43-0933CB92CBBC}"/>
              </a:ext>
            </a:extLst>
          </p:cNvPr>
          <p:cNvSpPr/>
          <p:nvPr/>
        </p:nvSpPr>
        <p:spPr>
          <a:xfrm>
            <a:off x="8250402" y="418111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97" name="TextBox 196">
            <a:extLst>
              <a:ext uri="{FF2B5EF4-FFF2-40B4-BE49-F238E27FC236}">
                <a16:creationId xmlns:a16="http://schemas.microsoft.com/office/drawing/2014/main" id="{03B9750A-AC7F-4B72-9FFB-B8DD6690310C}"/>
              </a:ext>
            </a:extLst>
          </p:cNvPr>
          <p:cNvSpPr txBox="1"/>
          <p:nvPr/>
        </p:nvSpPr>
        <p:spPr>
          <a:xfrm>
            <a:off x="8287179" y="4261112"/>
            <a:ext cx="238760" cy="146194"/>
          </a:xfrm>
          <a:prstGeom prst="rect">
            <a:avLst/>
          </a:prstGeom>
          <a:noFill/>
        </p:spPr>
        <p:txBody>
          <a:bodyPr wrap="square" lIns="0" tIns="0" rIns="0" bIns="0" rtlCol="0">
            <a:spAutoFit/>
          </a:bodyPr>
          <a:lstStyle/>
          <a:p>
            <a:pPr algn="ctr"/>
            <a:r>
              <a:rPr lang="nl-NL" sz="1000" b="1" dirty="0"/>
              <a:t>Ja</a:t>
            </a:r>
          </a:p>
        </p:txBody>
      </p:sp>
      <p:cxnSp>
        <p:nvCxnSpPr>
          <p:cNvPr id="198" name="Straight Connector 197">
            <a:extLst>
              <a:ext uri="{FF2B5EF4-FFF2-40B4-BE49-F238E27FC236}">
                <a16:creationId xmlns:a16="http://schemas.microsoft.com/office/drawing/2014/main" id="{B6C03AEC-5A8B-4189-9D9D-676A09C2C770}"/>
              </a:ext>
            </a:extLst>
          </p:cNvPr>
          <p:cNvCxnSpPr>
            <a:cxnSpLocks/>
          </p:cNvCxnSpPr>
          <p:nvPr/>
        </p:nvCxnSpPr>
        <p:spPr>
          <a:xfrm flipH="1">
            <a:off x="8614316" y="4350553"/>
            <a:ext cx="514116"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936F01F-A92E-4B58-840C-60DAEBB47E3F}"/>
              </a:ext>
            </a:extLst>
          </p:cNvPr>
          <p:cNvCxnSpPr>
            <a:cxnSpLocks/>
          </p:cNvCxnSpPr>
          <p:nvPr/>
        </p:nvCxnSpPr>
        <p:spPr>
          <a:xfrm>
            <a:off x="9117104" y="4322663"/>
            <a:ext cx="0" cy="306673"/>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2DDD0254-F85C-442B-B88A-1039FA799417}"/>
              </a:ext>
            </a:extLst>
          </p:cNvPr>
          <p:cNvCxnSpPr>
            <a:cxnSpLocks/>
          </p:cNvCxnSpPr>
          <p:nvPr/>
        </p:nvCxnSpPr>
        <p:spPr>
          <a:xfrm>
            <a:off x="9117104" y="5246605"/>
            <a:ext cx="0" cy="306673"/>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FDE37D43-35A9-4FB4-9AF2-686989CFE959}"/>
              </a:ext>
            </a:extLst>
          </p:cNvPr>
          <p:cNvCxnSpPr>
            <a:cxnSpLocks/>
          </p:cNvCxnSpPr>
          <p:nvPr/>
        </p:nvCxnSpPr>
        <p:spPr>
          <a:xfrm>
            <a:off x="7716826" y="5530736"/>
            <a:ext cx="0" cy="343972"/>
          </a:xfrm>
          <a:prstGeom prst="line">
            <a:avLst/>
          </a:prstGeom>
          <a:ln w="57150">
            <a:solidFill>
              <a:srgbClr val="FFFF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FD0D7BC-183E-4628-8711-85BF81729EDD}"/>
              </a:ext>
            </a:extLst>
          </p:cNvPr>
          <p:cNvCxnSpPr>
            <a:cxnSpLocks/>
          </p:cNvCxnSpPr>
          <p:nvPr/>
        </p:nvCxnSpPr>
        <p:spPr>
          <a:xfrm flipH="1">
            <a:off x="7690111" y="5550747"/>
            <a:ext cx="504909"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8FC06C7-85C2-4F90-BD79-BBB209B65E3B}"/>
              </a:ext>
            </a:extLst>
          </p:cNvPr>
          <p:cNvCxnSpPr>
            <a:cxnSpLocks/>
          </p:cNvCxnSpPr>
          <p:nvPr/>
        </p:nvCxnSpPr>
        <p:spPr>
          <a:xfrm flipH="1">
            <a:off x="8576216" y="5550747"/>
            <a:ext cx="568045"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713252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4AA63B-4AAF-48AA-8C17-4BA03D4D0886}"/>
              </a:ext>
            </a:extLst>
          </p:cNvPr>
          <p:cNvSpPr/>
          <p:nvPr/>
        </p:nvSpPr>
        <p:spPr>
          <a:xfrm>
            <a:off x="3346290" y="1365654"/>
            <a:ext cx="1638300" cy="474300"/>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 name="TextBox 2">
            <a:extLst>
              <a:ext uri="{FF2B5EF4-FFF2-40B4-BE49-F238E27FC236}">
                <a16:creationId xmlns:a16="http://schemas.microsoft.com/office/drawing/2014/main" id="{4A3CC227-1600-4A4D-B38D-AF885B187B8B}"/>
              </a:ext>
            </a:extLst>
          </p:cNvPr>
          <p:cNvSpPr txBox="1"/>
          <p:nvPr/>
        </p:nvSpPr>
        <p:spPr>
          <a:xfrm>
            <a:off x="3488370" y="1456610"/>
            <a:ext cx="1400970" cy="292388"/>
          </a:xfrm>
          <a:prstGeom prst="rect">
            <a:avLst/>
          </a:prstGeom>
          <a:noFill/>
        </p:spPr>
        <p:txBody>
          <a:bodyPr wrap="square" lIns="0" tIns="0" rIns="0" bIns="0" rtlCol="0">
            <a:spAutoFit/>
          </a:bodyPr>
          <a:lstStyle/>
          <a:p>
            <a:pPr algn="l"/>
            <a:r>
              <a:rPr lang="nl-NL" sz="1000" b="1" dirty="0"/>
              <a:t>Gaat het alleen om een commercieel belang?</a:t>
            </a:r>
          </a:p>
        </p:txBody>
      </p:sp>
      <p:cxnSp>
        <p:nvCxnSpPr>
          <p:cNvPr id="6" name="Straight Connector 5">
            <a:extLst>
              <a:ext uri="{FF2B5EF4-FFF2-40B4-BE49-F238E27FC236}">
                <a16:creationId xmlns:a16="http://schemas.microsoft.com/office/drawing/2014/main" id="{777B5499-AE93-4CF8-864F-16186E946876}"/>
              </a:ext>
            </a:extLst>
          </p:cNvPr>
          <p:cNvCxnSpPr>
            <a:cxnSpLocks/>
            <a:stCxn id="2" idx="2"/>
          </p:cNvCxnSpPr>
          <p:nvPr/>
        </p:nvCxnSpPr>
        <p:spPr>
          <a:xfrm>
            <a:off x="4165440" y="183995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BD4FF6-054D-4DC2-B376-E9B528BA2B56}"/>
              </a:ext>
            </a:extLst>
          </p:cNvPr>
          <p:cNvCxnSpPr>
            <a:cxnSpLocks/>
          </p:cNvCxnSpPr>
          <p:nvPr/>
        </p:nvCxnSpPr>
        <p:spPr>
          <a:xfrm>
            <a:off x="2698590" y="214108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8BCA8E74-B98D-4335-B4E3-F2E1DA78D539}"/>
              </a:ext>
            </a:extLst>
          </p:cNvPr>
          <p:cNvSpPr/>
          <p:nvPr/>
        </p:nvSpPr>
        <p:spPr>
          <a:xfrm>
            <a:off x="4814410" y="197144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 name="TextBox 13">
            <a:extLst>
              <a:ext uri="{FF2B5EF4-FFF2-40B4-BE49-F238E27FC236}">
                <a16:creationId xmlns:a16="http://schemas.microsoft.com/office/drawing/2014/main" id="{6BF29656-0740-4487-BA72-6E989BD28750}"/>
              </a:ext>
            </a:extLst>
          </p:cNvPr>
          <p:cNvSpPr txBox="1"/>
          <p:nvPr/>
        </p:nvSpPr>
        <p:spPr>
          <a:xfrm>
            <a:off x="4865210" y="2058462"/>
            <a:ext cx="238760" cy="146194"/>
          </a:xfrm>
          <a:prstGeom prst="rect">
            <a:avLst/>
          </a:prstGeom>
          <a:noFill/>
        </p:spPr>
        <p:txBody>
          <a:bodyPr wrap="square" lIns="0" tIns="0" rIns="0" bIns="0" rtlCol="0">
            <a:spAutoFit/>
          </a:bodyPr>
          <a:lstStyle/>
          <a:p>
            <a:pPr algn="ctr"/>
            <a:r>
              <a:rPr lang="nl-NL" sz="1000" b="1" dirty="0"/>
              <a:t>Ja</a:t>
            </a:r>
          </a:p>
        </p:txBody>
      </p:sp>
      <p:sp>
        <p:nvSpPr>
          <p:cNvPr id="22" name="Oval 21">
            <a:extLst>
              <a:ext uri="{FF2B5EF4-FFF2-40B4-BE49-F238E27FC236}">
                <a16:creationId xmlns:a16="http://schemas.microsoft.com/office/drawing/2014/main" id="{2C1E1805-B2C1-4A64-8081-8972806C35CB}"/>
              </a:ext>
            </a:extLst>
          </p:cNvPr>
          <p:cNvSpPr/>
          <p:nvPr/>
        </p:nvSpPr>
        <p:spPr>
          <a:xfrm>
            <a:off x="3198810" y="198096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23" name="TextBox 22">
            <a:extLst>
              <a:ext uri="{FF2B5EF4-FFF2-40B4-BE49-F238E27FC236}">
                <a16:creationId xmlns:a16="http://schemas.microsoft.com/office/drawing/2014/main" id="{F562E431-4B71-4326-93B1-9AF277E918EC}"/>
              </a:ext>
            </a:extLst>
          </p:cNvPr>
          <p:cNvSpPr txBox="1"/>
          <p:nvPr/>
        </p:nvSpPr>
        <p:spPr>
          <a:xfrm>
            <a:off x="3249610" y="2067987"/>
            <a:ext cx="238760" cy="146194"/>
          </a:xfrm>
          <a:prstGeom prst="rect">
            <a:avLst/>
          </a:prstGeom>
          <a:noFill/>
        </p:spPr>
        <p:txBody>
          <a:bodyPr wrap="square" lIns="0" tIns="0" rIns="0" bIns="0" rtlCol="0">
            <a:spAutoFit/>
          </a:bodyPr>
          <a:lstStyle/>
          <a:p>
            <a:pPr algn="ctr"/>
            <a:r>
              <a:rPr lang="nl-NL" sz="1000" b="1" dirty="0"/>
              <a:t>Nee</a:t>
            </a:r>
          </a:p>
        </p:txBody>
      </p:sp>
      <p:cxnSp>
        <p:nvCxnSpPr>
          <p:cNvPr id="27" name="Straight Connector 26">
            <a:extLst>
              <a:ext uri="{FF2B5EF4-FFF2-40B4-BE49-F238E27FC236}">
                <a16:creationId xmlns:a16="http://schemas.microsoft.com/office/drawing/2014/main" id="{BAEA7DC0-1330-4960-8A0D-06F3A358C131}"/>
              </a:ext>
            </a:extLst>
          </p:cNvPr>
          <p:cNvCxnSpPr>
            <a:cxnSpLocks/>
          </p:cNvCxnSpPr>
          <p:nvPr/>
        </p:nvCxnSpPr>
        <p:spPr>
          <a:xfrm>
            <a:off x="2698590" y="214108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782F92-166B-4062-B59B-A62E17D222E8}"/>
              </a:ext>
            </a:extLst>
          </p:cNvPr>
          <p:cNvCxnSpPr>
            <a:cxnSpLocks/>
          </p:cNvCxnSpPr>
          <p:nvPr/>
        </p:nvCxnSpPr>
        <p:spPr>
          <a:xfrm>
            <a:off x="5683090" y="2131559"/>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640DC87-CC51-4A0E-AA1D-50AE925A217F}"/>
              </a:ext>
            </a:extLst>
          </p:cNvPr>
          <p:cNvSpPr/>
          <p:nvPr/>
        </p:nvSpPr>
        <p:spPr>
          <a:xfrm>
            <a:off x="5205728" y="2420792"/>
            <a:ext cx="1638300" cy="5473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0" name="TextBox 29">
            <a:extLst>
              <a:ext uri="{FF2B5EF4-FFF2-40B4-BE49-F238E27FC236}">
                <a16:creationId xmlns:a16="http://schemas.microsoft.com/office/drawing/2014/main" id="{C0475137-86B3-4917-B9C0-AB227344EA19}"/>
              </a:ext>
            </a:extLst>
          </p:cNvPr>
          <p:cNvSpPr txBox="1"/>
          <p:nvPr/>
        </p:nvSpPr>
        <p:spPr>
          <a:xfrm>
            <a:off x="5263989" y="2484915"/>
            <a:ext cx="1580039" cy="438582"/>
          </a:xfrm>
          <a:prstGeom prst="rect">
            <a:avLst/>
          </a:prstGeom>
          <a:noFill/>
        </p:spPr>
        <p:txBody>
          <a:bodyPr wrap="square" lIns="0" tIns="0" rIns="0" bIns="0" rtlCol="0">
            <a:spAutoFit/>
          </a:bodyPr>
          <a:lstStyle/>
          <a:p>
            <a:pPr algn="l"/>
            <a:r>
              <a:rPr lang="nl-NL" sz="1000" b="1" dirty="0"/>
              <a:t>Zijn er omstandigheden, die rechtvaardigen daaraan voorbij te gaan?</a:t>
            </a:r>
          </a:p>
        </p:txBody>
      </p:sp>
      <p:cxnSp>
        <p:nvCxnSpPr>
          <p:cNvPr id="31" name="Straight Connector 30">
            <a:extLst>
              <a:ext uri="{FF2B5EF4-FFF2-40B4-BE49-F238E27FC236}">
                <a16:creationId xmlns:a16="http://schemas.microsoft.com/office/drawing/2014/main" id="{7B8E2A95-4E98-4063-B191-C684EE98C8B4}"/>
              </a:ext>
            </a:extLst>
          </p:cNvPr>
          <p:cNvCxnSpPr>
            <a:cxnSpLocks/>
          </p:cNvCxnSpPr>
          <p:nvPr/>
        </p:nvCxnSpPr>
        <p:spPr>
          <a:xfrm>
            <a:off x="4603750" y="3285355"/>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F24F7763-629E-4BA0-84C7-7ADFF6C7F211}"/>
              </a:ext>
            </a:extLst>
          </p:cNvPr>
          <p:cNvSpPr/>
          <p:nvPr/>
        </p:nvSpPr>
        <p:spPr>
          <a:xfrm>
            <a:off x="6711450" y="3118783"/>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4" name="Oval 33">
            <a:extLst>
              <a:ext uri="{FF2B5EF4-FFF2-40B4-BE49-F238E27FC236}">
                <a16:creationId xmlns:a16="http://schemas.microsoft.com/office/drawing/2014/main" id="{7CAA5729-16F8-4013-B47F-C7CD3547C566}"/>
              </a:ext>
            </a:extLst>
          </p:cNvPr>
          <p:cNvSpPr/>
          <p:nvPr/>
        </p:nvSpPr>
        <p:spPr>
          <a:xfrm>
            <a:off x="5103970" y="314029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36" name="Straight Connector 35">
            <a:extLst>
              <a:ext uri="{FF2B5EF4-FFF2-40B4-BE49-F238E27FC236}">
                <a16:creationId xmlns:a16="http://schemas.microsoft.com/office/drawing/2014/main" id="{87CA7E61-3F33-4EB6-960C-4CE280A5ABB6}"/>
              </a:ext>
            </a:extLst>
          </p:cNvPr>
          <p:cNvCxnSpPr>
            <a:cxnSpLocks/>
          </p:cNvCxnSpPr>
          <p:nvPr/>
        </p:nvCxnSpPr>
        <p:spPr>
          <a:xfrm>
            <a:off x="4603750" y="3285355"/>
            <a:ext cx="0" cy="2797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9A3D5EF-43CB-451B-B568-B53480E1D47D}"/>
              </a:ext>
            </a:extLst>
          </p:cNvPr>
          <p:cNvCxnSpPr>
            <a:cxnSpLocks/>
          </p:cNvCxnSpPr>
          <p:nvPr/>
        </p:nvCxnSpPr>
        <p:spPr>
          <a:xfrm>
            <a:off x="7588250" y="327583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D8AC045-C7DE-4588-A7E4-7598C7B20471}"/>
              </a:ext>
            </a:extLst>
          </p:cNvPr>
          <p:cNvCxnSpPr>
            <a:cxnSpLocks/>
          </p:cNvCxnSpPr>
          <p:nvPr/>
        </p:nvCxnSpPr>
        <p:spPr>
          <a:xfrm>
            <a:off x="6013290" y="298097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46457EA-0AC8-4B53-B7D9-BB4DB0EA5BFC}"/>
              </a:ext>
            </a:extLst>
          </p:cNvPr>
          <p:cNvSpPr/>
          <p:nvPr/>
        </p:nvSpPr>
        <p:spPr>
          <a:xfrm>
            <a:off x="6782348" y="3582689"/>
            <a:ext cx="1638300" cy="443824"/>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48" name="TextBox 47">
            <a:extLst>
              <a:ext uri="{FF2B5EF4-FFF2-40B4-BE49-F238E27FC236}">
                <a16:creationId xmlns:a16="http://schemas.microsoft.com/office/drawing/2014/main" id="{4909BCBC-3AEB-405C-B0AE-DCC96A0DCED5}"/>
              </a:ext>
            </a:extLst>
          </p:cNvPr>
          <p:cNvSpPr txBox="1"/>
          <p:nvPr/>
        </p:nvSpPr>
        <p:spPr>
          <a:xfrm>
            <a:off x="6840609" y="3646812"/>
            <a:ext cx="1580039" cy="292388"/>
          </a:xfrm>
          <a:prstGeom prst="rect">
            <a:avLst/>
          </a:prstGeom>
          <a:noFill/>
        </p:spPr>
        <p:txBody>
          <a:bodyPr wrap="square" lIns="0" tIns="0" rIns="0" bIns="0" rtlCol="0">
            <a:spAutoFit/>
          </a:bodyPr>
          <a:lstStyle/>
          <a:p>
            <a:pPr algn="l"/>
            <a:r>
              <a:rPr lang="nl-NL" sz="1000" b="1" dirty="0"/>
              <a:t>Is er een redelijke vergoeding aangeboden?</a:t>
            </a:r>
          </a:p>
        </p:txBody>
      </p:sp>
      <p:cxnSp>
        <p:nvCxnSpPr>
          <p:cNvPr id="52" name="Straight Connector 51">
            <a:extLst>
              <a:ext uri="{FF2B5EF4-FFF2-40B4-BE49-F238E27FC236}">
                <a16:creationId xmlns:a16="http://schemas.microsoft.com/office/drawing/2014/main" id="{9E53E2B1-38C6-4933-88F0-A94EAD24EAC7}"/>
              </a:ext>
            </a:extLst>
          </p:cNvPr>
          <p:cNvCxnSpPr>
            <a:cxnSpLocks/>
          </p:cNvCxnSpPr>
          <p:nvPr/>
        </p:nvCxnSpPr>
        <p:spPr>
          <a:xfrm>
            <a:off x="7610867" y="4037233"/>
            <a:ext cx="1011" cy="3088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9968F71-9C41-43FD-B0B5-FC38E4580903}"/>
              </a:ext>
            </a:extLst>
          </p:cNvPr>
          <p:cNvCxnSpPr>
            <a:cxnSpLocks/>
          </p:cNvCxnSpPr>
          <p:nvPr/>
        </p:nvCxnSpPr>
        <p:spPr>
          <a:xfrm>
            <a:off x="6106481" y="4345791"/>
            <a:ext cx="3003777" cy="952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16D10688-034F-4D36-8F4B-546B50EB2B89}"/>
              </a:ext>
            </a:extLst>
          </p:cNvPr>
          <p:cNvSpPr/>
          <p:nvPr/>
        </p:nvSpPr>
        <p:spPr>
          <a:xfrm>
            <a:off x="6625978" y="4195198"/>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57" name="TextBox 56">
            <a:extLst>
              <a:ext uri="{FF2B5EF4-FFF2-40B4-BE49-F238E27FC236}">
                <a16:creationId xmlns:a16="http://schemas.microsoft.com/office/drawing/2014/main" id="{D51D173E-97B3-4876-A8C8-E38877D92E8B}"/>
              </a:ext>
            </a:extLst>
          </p:cNvPr>
          <p:cNvSpPr txBox="1"/>
          <p:nvPr/>
        </p:nvSpPr>
        <p:spPr>
          <a:xfrm>
            <a:off x="6676778" y="4282219"/>
            <a:ext cx="238760" cy="146194"/>
          </a:xfrm>
          <a:prstGeom prst="rect">
            <a:avLst/>
          </a:prstGeom>
          <a:noFill/>
        </p:spPr>
        <p:txBody>
          <a:bodyPr wrap="square" lIns="0" tIns="0" rIns="0" bIns="0" rtlCol="0">
            <a:spAutoFit/>
          </a:bodyPr>
          <a:lstStyle/>
          <a:p>
            <a:pPr algn="ctr"/>
            <a:r>
              <a:rPr lang="nl-NL" sz="1000" b="1" dirty="0"/>
              <a:t>Nee</a:t>
            </a:r>
          </a:p>
        </p:txBody>
      </p:sp>
      <p:cxnSp>
        <p:nvCxnSpPr>
          <p:cNvPr id="58" name="Straight Connector 57">
            <a:extLst>
              <a:ext uri="{FF2B5EF4-FFF2-40B4-BE49-F238E27FC236}">
                <a16:creationId xmlns:a16="http://schemas.microsoft.com/office/drawing/2014/main" id="{CDA9C1FF-36D9-4166-88DA-331CA02D1C71}"/>
              </a:ext>
            </a:extLst>
          </p:cNvPr>
          <p:cNvCxnSpPr>
            <a:cxnSpLocks/>
          </p:cNvCxnSpPr>
          <p:nvPr/>
        </p:nvCxnSpPr>
        <p:spPr>
          <a:xfrm>
            <a:off x="6106481" y="4345791"/>
            <a:ext cx="0" cy="173713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213441D-DC04-4B32-9BCF-EA973FC849BB}"/>
              </a:ext>
            </a:extLst>
          </p:cNvPr>
          <p:cNvCxnSpPr>
            <a:cxnSpLocks/>
          </p:cNvCxnSpPr>
          <p:nvPr/>
        </p:nvCxnSpPr>
        <p:spPr>
          <a:xfrm>
            <a:off x="9110258" y="4345791"/>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B545E02-BCF2-4EC2-BBD5-98D3F32104CA}"/>
              </a:ext>
            </a:extLst>
          </p:cNvPr>
          <p:cNvSpPr/>
          <p:nvPr/>
        </p:nvSpPr>
        <p:spPr>
          <a:xfrm>
            <a:off x="8244360" y="4646093"/>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1" name="TextBox 60">
            <a:extLst>
              <a:ext uri="{FF2B5EF4-FFF2-40B4-BE49-F238E27FC236}">
                <a16:creationId xmlns:a16="http://schemas.microsoft.com/office/drawing/2014/main" id="{659B583B-09BC-4D14-9579-97F609300A5C}"/>
              </a:ext>
            </a:extLst>
          </p:cNvPr>
          <p:cNvSpPr txBox="1"/>
          <p:nvPr/>
        </p:nvSpPr>
        <p:spPr>
          <a:xfrm>
            <a:off x="8301385" y="4701787"/>
            <a:ext cx="1727519" cy="438582"/>
          </a:xfrm>
          <a:prstGeom prst="rect">
            <a:avLst/>
          </a:prstGeom>
          <a:noFill/>
        </p:spPr>
        <p:txBody>
          <a:bodyPr wrap="square" lIns="0" tIns="0" rIns="0" bIns="0" rtlCol="0">
            <a:spAutoFit/>
          </a:bodyPr>
          <a:lstStyle/>
          <a:p>
            <a:pPr algn="l"/>
            <a:r>
              <a:rPr lang="nl-NL" sz="1000" b="1" dirty="0"/>
              <a:t>Is er sprake van bijkomende omstandigheden, die zwaarder wegen?</a:t>
            </a:r>
          </a:p>
        </p:txBody>
      </p:sp>
      <p:cxnSp>
        <p:nvCxnSpPr>
          <p:cNvPr id="62" name="Straight Connector 61">
            <a:extLst>
              <a:ext uri="{FF2B5EF4-FFF2-40B4-BE49-F238E27FC236}">
                <a16:creationId xmlns:a16="http://schemas.microsoft.com/office/drawing/2014/main" id="{EDAF109D-26E9-45E1-8D17-2A9423007A9A}"/>
              </a:ext>
            </a:extLst>
          </p:cNvPr>
          <p:cNvCxnSpPr>
            <a:cxnSpLocks/>
          </p:cNvCxnSpPr>
          <p:nvPr/>
        </p:nvCxnSpPr>
        <p:spPr>
          <a:xfrm>
            <a:off x="9114958" y="5246605"/>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CEFBA0-B0ED-452C-A609-30B25281605A}"/>
              </a:ext>
            </a:extLst>
          </p:cNvPr>
          <p:cNvCxnSpPr>
            <a:cxnSpLocks/>
          </p:cNvCxnSpPr>
          <p:nvPr/>
        </p:nvCxnSpPr>
        <p:spPr>
          <a:xfrm>
            <a:off x="7716826" y="555252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7D0992D6-462A-4474-A14F-0FBAE2C87A75}"/>
              </a:ext>
            </a:extLst>
          </p:cNvPr>
          <p:cNvSpPr/>
          <p:nvPr/>
        </p:nvSpPr>
        <p:spPr>
          <a:xfrm>
            <a:off x="9832646" y="538288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5" name="TextBox 64">
            <a:extLst>
              <a:ext uri="{FF2B5EF4-FFF2-40B4-BE49-F238E27FC236}">
                <a16:creationId xmlns:a16="http://schemas.microsoft.com/office/drawing/2014/main" id="{DCB6607F-A6C4-4385-9E9D-45333D3A096A}"/>
              </a:ext>
            </a:extLst>
          </p:cNvPr>
          <p:cNvSpPr txBox="1"/>
          <p:nvPr/>
        </p:nvSpPr>
        <p:spPr>
          <a:xfrm>
            <a:off x="9883446" y="546990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66" name="Oval 65">
            <a:extLst>
              <a:ext uri="{FF2B5EF4-FFF2-40B4-BE49-F238E27FC236}">
                <a16:creationId xmlns:a16="http://schemas.microsoft.com/office/drawing/2014/main" id="{856D15A6-66C5-45CD-83FA-64B16EB1ECCC}"/>
              </a:ext>
            </a:extLst>
          </p:cNvPr>
          <p:cNvSpPr/>
          <p:nvPr/>
        </p:nvSpPr>
        <p:spPr>
          <a:xfrm>
            <a:off x="8217046" y="539240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7" name="TextBox 66">
            <a:extLst>
              <a:ext uri="{FF2B5EF4-FFF2-40B4-BE49-F238E27FC236}">
                <a16:creationId xmlns:a16="http://schemas.microsoft.com/office/drawing/2014/main" id="{DF68BA85-9274-4715-92A3-96CA0BE6FCFD}"/>
              </a:ext>
            </a:extLst>
          </p:cNvPr>
          <p:cNvSpPr txBox="1"/>
          <p:nvPr/>
        </p:nvSpPr>
        <p:spPr>
          <a:xfrm>
            <a:off x="8267846" y="5479427"/>
            <a:ext cx="238760" cy="146194"/>
          </a:xfrm>
          <a:prstGeom prst="rect">
            <a:avLst/>
          </a:prstGeom>
          <a:noFill/>
        </p:spPr>
        <p:txBody>
          <a:bodyPr wrap="square" lIns="0" tIns="0" rIns="0" bIns="0" rtlCol="0">
            <a:spAutoFit/>
          </a:bodyPr>
          <a:lstStyle/>
          <a:p>
            <a:pPr algn="ctr"/>
            <a:r>
              <a:rPr lang="nl-NL" sz="1000" b="1" dirty="0"/>
              <a:t>Nee</a:t>
            </a:r>
          </a:p>
        </p:txBody>
      </p:sp>
      <p:cxnSp>
        <p:nvCxnSpPr>
          <p:cNvPr id="68" name="Straight Connector 67">
            <a:extLst>
              <a:ext uri="{FF2B5EF4-FFF2-40B4-BE49-F238E27FC236}">
                <a16:creationId xmlns:a16="http://schemas.microsoft.com/office/drawing/2014/main" id="{C049A8CB-01C0-4441-B1CD-012C77785216}"/>
              </a:ext>
            </a:extLst>
          </p:cNvPr>
          <p:cNvCxnSpPr>
            <a:cxnSpLocks/>
          </p:cNvCxnSpPr>
          <p:nvPr/>
        </p:nvCxnSpPr>
        <p:spPr>
          <a:xfrm>
            <a:off x="7716826" y="5550747"/>
            <a:ext cx="0" cy="54108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C16183-5358-4CAB-A9D2-E7CBDA05A482}"/>
              </a:ext>
            </a:extLst>
          </p:cNvPr>
          <p:cNvSpPr txBox="1"/>
          <p:nvPr/>
        </p:nvSpPr>
        <p:spPr>
          <a:xfrm>
            <a:off x="5144609" y="3243600"/>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71" name="TextBox 70">
            <a:extLst>
              <a:ext uri="{FF2B5EF4-FFF2-40B4-BE49-F238E27FC236}">
                <a16:creationId xmlns:a16="http://schemas.microsoft.com/office/drawing/2014/main" id="{CECE2BE7-83E9-4AC5-A603-173BD6215BEB}"/>
              </a:ext>
            </a:extLst>
          </p:cNvPr>
          <p:cNvSpPr txBox="1"/>
          <p:nvPr/>
        </p:nvSpPr>
        <p:spPr>
          <a:xfrm>
            <a:off x="6762250" y="3194760"/>
            <a:ext cx="238760" cy="146194"/>
          </a:xfrm>
          <a:prstGeom prst="rect">
            <a:avLst/>
          </a:prstGeom>
          <a:noFill/>
        </p:spPr>
        <p:txBody>
          <a:bodyPr wrap="square" lIns="0" tIns="0" rIns="0" bIns="0" rtlCol="0">
            <a:spAutoFit/>
          </a:bodyPr>
          <a:lstStyle/>
          <a:p>
            <a:pPr algn="ctr"/>
            <a:r>
              <a:rPr lang="nl-NL" sz="1000" b="1" dirty="0"/>
              <a:t>Nee</a:t>
            </a:r>
          </a:p>
        </p:txBody>
      </p:sp>
      <p:sp>
        <p:nvSpPr>
          <p:cNvPr id="75" name="TextBox 74">
            <a:extLst>
              <a:ext uri="{FF2B5EF4-FFF2-40B4-BE49-F238E27FC236}">
                <a16:creationId xmlns:a16="http://schemas.microsoft.com/office/drawing/2014/main" id="{88A9D700-3A8D-4CA3-AA7F-E87251976D43}"/>
              </a:ext>
            </a:extLst>
          </p:cNvPr>
          <p:cNvSpPr txBox="1"/>
          <p:nvPr/>
        </p:nvSpPr>
        <p:spPr>
          <a:xfrm>
            <a:off x="7002607" y="2457987"/>
            <a:ext cx="2384827" cy="292388"/>
          </a:xfrm>
          <a:prstGeom prst="rect">
            <a:avLst/>
          </a:prstGeom>
          <a:noFill/>
        </p:spPr>
        <p:txBody>
          <a:bodyPr wrap="square" lIns="0" tIns="0" rIns="0" bIns="0" rtlCol="0">
            <a:spAutoFit/>
          </a:bodyPr>
          <a:lstStyle/>
          <a:p>
            <a:pPr algn="l"/>
            <a:r>
              <a:rPr lang="nl-NL" sz="1000" b="1" dirty="0"/>
              <a:t>- Bijvoorbeeld de grote informatieve waarde van de publicatie</a:t>
            </a:r>
          </a:p>
        </p:txBody>
      </p:sp>
      <p:sp>
        <p:nvSpPr>
          <p:cNvPr id="78" name="TextBox 77">
            <a:extLst>
              <a:ext uri="{FF2B5EF4-FFF2-40B4-BE49-F238E27FC236}">
                <a16:creationId xmlns:a16="http://schemas.microsoft.com/office/drawing/2014/main" id="{9F933D8F-59AF-4C1C-A767-2A59455D5382}"/>
              </a:ext>
            </a:extLst>
          </p:cNvPr>
          <p:cNvSpPr txBox="1"/>
          <p:nvPr/>
        </p:nvSpPr>
        <p:spPr>
          <a:xfrm>
            <a:off x="10177377" y="4704117"/>
            <a:ext cx="1489028" cy="584775"/>
          </a:xfrm>
          <a:prstGeom prst="rect">
            <a:avLst/>
          </a:prstGeom>
          <a:noFill/>
        </p:spPr>
        <p:txBody>
          <a:bodyPr wrap="square" lIns="0" tIns="0" rIns="0" bIns="0" rtlCol="0">
            <a:spAutoFit/>
          </a:bodyPr>
          <a:lstStyle/>
          <a:p>
            <a:pPr algn="l"/>
            <a:r>
              <a:rPr lang="nl-NL" sz="1000" b="1" dirty="0"/>
              <a:t>- Bijvoorbeeld de publicatie is schadelijk voor de wijze van exploitatie</a:t>
            </a:r>
          </a:p>
        </p:txBody>
      </p:sp>
      <p:cxnSp>
        <p:nvCxnSpPr>
          <p:cNvPr id="88" name="Straight Connector 87">
            <a:extLst>
              <a:ext uri="{FF2B5EF4-FFF2-40B4-BE49-F238E27FC236}">
                <a16:creationId xmlns:a16="http://schemas.microsoft.com/office/drawing/2014/main" id="{9442AA6A-6C6F-4896-A7E3-CEDC647722F7}"/>
              </a:ext>
            </a:extLst>
          </p:cNvPr>
          <p:cNvCxnSpPr>
            <a:cxnSpLocks/>
          </p:cNvCxnSpPr>
          <p:nvPr/>
        </p:nvCxnSpPr>
        <p:spPr>
          <a:xfrm>
            <a:off x="10701326" y="5552524"/>
            <a:ext cx="0" cy="5304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4E50DD30-37F1-4477-9100-943D3E575285}"/>
              </a:ext>
            </a:extLst>
          </p:cNvPr>
          <p:cNvSpPr/>
          <p:nvPr/>
        </p:nvSpPr>
        <p:spPr>
          <a:xfrm>
            <a:off x="9910976" y="5845157"/>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2" name="TextBox 91">
            <a:extLst>
              <a:ext uri="{FF2B5EF4-FFF2-40B4-BE49-F238E27FC236}">
                <a16:creationId xmlns:a16="http://schemas.microsoft.com/office/drawing/2014/main" id="{0C7EEA12-6367-43CC-B3CD-47EF404540A5}"/>
              </a:ext>
            </a:extLst>
          </p:cNvPr>
          <p:cNvSpPr txBox="1"/>
          <p:nvPr/>
        </p:nvSpPr>
        <p:spPr>
          <a:xfrm>
            <a:off x="10013683" y="5908450"/>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95" name="Rectangle 94">
            <a:extLst>
              <a:ext uri="{FF2B5EF4-FFF2-40B4-BE49-F238E27FC236}">
                <a16:creationId xmlns:a16="http://schemas.microsoft.com/office/drawing/2014/main" id="{7924FFC3-A9B8-440C-8CB6-DBFB25D4FC59}"/>
              </a:ext>
            </a:extLst>
          </p:cNvPr>
          <p:cNvSpPr/>
          <p:nvPr/>
        </p:nvSpPr>
        <p:spPr>
          <a:xfrm>
            <a:off x="3775489" y="5837409"/>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6" name="TextBox 95">
            <a:extLst>
              <a:ext uri="{FF2B5EF4-FFF2-40B4-BE49-F238E27FC236}">
                <a16:creationId xmlns:a16="http://schemas.microsoft.com/office/drawing/2014/main" id="{1691F3B4-2E76-4EA7-B05B-E7D3D79F1CDB}"/>
              </a:ext>
            </a:extLst>
          </p:cNvPr>
          <p:cNvSpPr txBox="1"/>
          <p:nvPr/>
        </p:nvSpPr>
        <p:spPr>
          <a:xfrm>
            <a:off x="3878195" y="5900702"/>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98" name="Rectangle 97">
            <a:extLst>
              <a:ext uri="{FF2B5EF4-FFF2-40B4-BE49-F238E27FC236}">
                <a16:creationId xmlns:a16="http://schemas.microsoft.com/office/drawing/2014/main" id="{65874EB7-8523-4BBE-9063-E396A3CD365B}"/>
              </a:ext>
            </a:extLst>
          </p:cNvPr>
          <p:cNvSpPr/>
          <p:nvPr/>
        </p:nvSpPr>
        <p:spPr>
          <a:xfrm>
            <a:off x="7317653" y="5851723"/>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9" name="TextBox 98">
            <a:extLst>
              <a:ext uri="{FF2B5EF4-FFF2-40B4-BE49-F238E27FC236}">
                <a16:creationId xmlns:a16="http://schemas.microsoft.com/office/drawing/2014/main" id="{C2B4C830-1606-4459-BA48-B3616C21F373}"/>
              </a:ext>
            </a:extLst>
          </p:cNvPr>
          <p:cNvSpPr txBox="1"/>
          <p:nvPr/>
        </p:nvSpPr>
        <p:spPr>
          <a:xfrm>
            <a:off x="7478075" y="5915016"/>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101" name="Rectangle 100">
            <a:extLst>
              <a:ext uri="{FF2B5EF4-FFF2-40B4-BE49-F238E27FC236}">
                <a16:creationId xmlns:a16="http://schemas.microsoft.com/office/drawing/2014/main" id="{18D2BBA3-1CFD-44B6-A9E3-2D3BA0B7354D}"/>
              </a:ext>
            </a:extLst>
          </p:cNvPr>
          <p:cNvSpPr/>
          <p:nvPr/>
        </p:nvSpPr>
        <p:spPr>
          <a:xfrm>
            <a:off x="5539015" y="5830550"/>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2" name="TextBox 101">
            <a:extLst>
              <a:ext uri="{FF2B5EF4-FFF2-40B4-BE49-F238E27FC236}">
                <a16:creationId xmlns:a16="http://schemas.microsoft.com/office/drawing/2014/main" id="{83A5AAE7-12D9-4338-A31E-4960F204A60F}"/>
              </a:ext>
            </a:extLst>
          </p:cNvPr>
          <p:cNvSpPr txBox="1"/>
          <p:nvPr/>
        </p:nvSpPr>
        <p:spPr>
          <a:xfrm>
            <a:off x="5641722" y="5893843"/>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06" name="Rectangle 105">
            <a:extLst>
              <a:ext uri="{FF2B5EF4-FFF2-40B4-BE49-F238E27FC236}">
                <a16:creationId xmlns:a16="http://schemas.microsoft.com/office/drawing/2014/main" id="{451E2EB0-C06D-4FF8-86B2-4AD4B5CD2271}"/>
              </a:ext>
            </a:extLst>
          </p:cNvPr>
          <p:cNvSpPr/>
          <p:nvPr/>
        </p:nvSpPr>
        <p:spPr>
          <a:xfrm>
            <a:off x="9910976" y="5837409"/>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7" name="TextBox 106">
            <a:extLst>
              <a:ext uri="{FF2B5EF4-FFF2-40B4-BE49-F238E27FC236}">
                <a16:creationId xmlns:a16="http://schemas.microsoft.com/office/drawing/2014/main" id="{609E68FE-A3F3-428A-8593-ED604F2FE595}"/>
              </a:ext>
            </a:extLst>
          </p:cNvPr>
          <p:cNvSpPr txBox="1"/>
          <p:nvPr/>
        </p:nvSpPr>
        <p:spPr>
          <a:xfrm>
            <a:off x="10013683" y="5900702"/>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24" name="Rectangle 123">
            <a:extLst>
              <a:ext uri="{FF2B5EF4-FFF2-40B4-BE49-F238E27FC236}">
                <a16:creationId xmlns:a16="http://schemas.microsoft.com/office/drawing/2014/main" id="{C8B8F766-1712-4473-87E4-3C7830A939E3}"/>
              </a:ext>
            </a:extLst>
          </p:cNvPr>
          <p:cNvSpPr/>
          <p:nvPr/>
        </p:nvSpPr>
        <p:spPr>
          <a:xfrm>
            <a:off x="1866934" y="2418605"/>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5" name="TextBox 124">
            <a:extLst>
              <a:ext uri="{FF2B5EF4-FFF2-40B4-BE49-F238E27FC236}">
                <a16:creationId xmlns:a16="http://schemas.microsoft.com/office/drawing/2014/main" id="{30FDF0AB-28BD-428B-B668-8463A9ACF6F0}"/>
              </a:ext>
            </a:extLst>
          </p:cNvPr>
          <p:cNvSpPr txBox="1"/>
          <p:nvPr/>
        </p:nvSpPr>
        <p:spPr>
          <a:xfrm>
            <a:off x="1923959" y="2474299"/>
            <a:ext cx="1727519" cy="438582"/>
          </a:xfrm>
          <a:prstGeom prst="rect">
            <a:avLst/>
          </a:prstGeom>
          <a:noFill/>
        </p:spPr>
        <p:txBody>
          <a:bodyPr wrap="square" lIns="0" tIns="0" rIns="0" bIns="0" rtlCol="0">
            <a:spAutoFit/>
          </a:bodyPr>
          <a:lstStyle/>
          <a:p>
            <a:pPr algn="l"/>
            <a:r>
              <a:rPr lang="nl-NL" sz="1000" b="1" dirty="0"/>
              <a:t>Is er sprake van een privacybelang dat zwaarder weegt</a:t>
            </a:r>
          </a:p>
        </p:txBody>
      </p:sp>
      <p:cxnSp>
        <p:nvCxnSpPr>
          <p:cNvPr id="126" name="Straight Connector 125">
            <a:extLst>
              <a:ext uri="{FF2B5EF4-FFF2-40B4-BE49-F238E27FC236}">
                <a16:creationId xmlns:a16="http://schemas.microsoft.com/office/drawing/2014/main" id="{F972DA0F-5EA6-4B15-9BEC-6DDF1E5AEA5B}"/>
              </a:ext>
            </a:extLst>
          </p:cNvPr>
          <p:cNvCxnSpPr>
            <a:cxnSpLocks/>
          </p:cNvCxnSpPr>
          <p:nvPr/>
        </p:nvCxnSpPr>
        <p:spPr>
          <a:xfrm>
            <a:off x="1281826" y="3345747"/>
            <a:ext cx="288361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0D0A9401-8F6A-4DC2-BA84-120FF7BA7FF8}"/>
              </a:ext>
            </a:extLst>
          </p:cNvPr>
          <p:cNvSpPr/>
          <p:nvPr/>
        </p:nvSpPr>
        <p:spPr>
          <a:xfrm>
            <a:off x="3406456" y="3203950"/>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8" name="Oval 127">
            <a:extLst>
              <a:ext uri="{FF2B5EF4-FFF2-40B4-BE49-F238E27FC236}">
                <a16:creationId xmlns:a16="http://schemas.microsoft.com/office/drawing/2014/main" id="{8D9FCA63-2306-4637-A5E8-7D4217718489}"/>
              </a:ext>
            </a:extLst>
          </p:cNvPr>
          <p:cNvSpPr/>
          <p:nvPr/>
        </p:nvSpPr>
        <p:spPr>
          <a:xfrm>
            <a:off x="1782046" y="320069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129" name="Straight Connector 128">
            <a:extLst>
              <a:ext uri="{FF2B5EF4-FFF2-40B4-BE49-F238E27FC236}">
                <a16:creationId xmlns:a16="http://schemas.microsoft.com/office/drawing/2014/main" id="{AFA73E03-443B-461C-9E6E-C15745CB4411}"/>
              </a:ext>
            </a:extLst>
          </p:cNvPr>
          <p:cNvCxnSpPr>
            <a:cxnSpLocks/>
          </p:cNvCxnSpPr>
          <p:nvPr/>
        </p:nvCxnSpPr>
        <p:spPr>
          <a:xfrm>
            <a:off x="2710697" y="3017464"/>
            <a:ext cx="0" cy="315503"/>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AC68ED0-A10B-4E1E-94E7-1A0F2DE415B2}"/>
              </a:ext>
            </a:extLst>
          </p:cNvPr>
          <p:cNvSpPr txBox="1"/>
          <p:nvPr/>
        </p:nvSpPr>
        <p:spPr>
          <a:xfrm>
            <a:off x="1822685" y="330399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131" name="TextBox 130">
            <a:extLst>
              <a:ext uri="{FF2B5EF4-FFF2-40B4-BE49-F238E27FC236}">
                <a16:creationId xmlns:a16="http://schemas.microsoft.com/office/drawing/2014/main" id="{47EF5ED5-8802-4DD6-928D-9545D4046563}"/>
              </a:ext>
            </a:extLst>
          </p:cNvPr>
          <p:cNvSpPr txBox="1"/>
          <p:nvPr/>
        </p:nvSpPr>
        <p:spPr>
          <a:xfrm>
            <a:off x="3457256" y="3279927"/>
            <a:ext cx="238760" cy="146194"/>
          </a:xfrm>
          <a:prstGeom prst="rect">
            <a:avLst/>
          </a:prstGeom>
          <a:noFill/>
        </p:spPr>
        <p:txBody>
          <a:bodyPr wrap="square" lIns="0" tIns="0" rIns="0" bIns="0" rtlCol="0">
            <a:spAutoFit/>
          </a:bodyPr>
          <a:lstStyle/>
          <a:p>
            <a:pPr algn="ctr"/>
            <a:r>
              <a:rPr lang="nl-NL" sz="1000" b="1" dirty="0"/>
              <a:t>Nee</a:t>
            </a:r>
          </a:p>
        </p:txBody>
      </p:sp>
      <p:cxnSp>
        <p:nvCxnSpPr>
          <p:cNvPr id="139" name="Straight Connector 138">
            <a:extLst>
              <a:ext uri="{FF2B5EF4-FFF2-40B4-BE49-F238E27FC236}">
                <a16:creationId xmlns:a16="http://schemas.microsoft.com/office/drawing/2014/main" id="{0CAB89A0-F10C-4137-946E-D5384CA9F81C}"/>
              </a:ext>
            </a:extLst>
          </p:cNvPr>
          <p:cNvCxnSpPr>
            <a:cxnSpLocks/>
          </p:cNvCxnSpPr>
          <p:nvPr/>
        </p:nvCxnSpPr>
        <p:spPr>
          <a:xfrm>
            <a:off x="4165440" y="3345747"/>
            <a:ext cx="0" cy="249166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AAF164F-4380-4357-AFD6-527FDEF78A25}"/>
              </a:ext>
            </a:extLst>
          </p:cNvPr>
          <p:cNvCxnSpPr>
            <a:cxnSpLocks/>
          </p:cNvCxnSpPr>
          <p:nvPr/>
        </p:nvCxnSpPr>
        <p:spPr>
          <a:xfrm>
            <a:off x="1281826" y="3332967"/>
            <a:ext cx="0" cy="2753837"/>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2123B680-F3A0-4A7B-B1EA-D77822697EA2}"/>
              </a:ext>
            </a:extLst>
          </p:cNvPr>
          <p:cNvSpPr/>
          <p:nvPr/>
        </p:nvSpPr>
        <p:spPr>
          <a:xfrm>
            <a:off x="700596" y="5828503"/>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3" name="TextBox 142">
            <a:extLst>
              <a:ext uri="{FF2B5EF4-FFF2-40B4-BE49-F238E27FC236}">
                <a16:creationId xmlns:a16="http://schemas.microsoft.com/office/drawing/2014/main" id="{6A3D137E-0FA2-498B-80D1-3A9B84EC13EB}"/>
              </a:ext>
            </a:extLst>
          </p:cNvPr>
          <p:cNvSpPr txBox="1"/>
          <p:nvPr/>
        </p:nvSpPr>
        <p:spPr>
          <a:xfrm>
            <a:off x="803303" y="5891796"/>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45" name="TextBox 144">
            <a:extLst>
              <a:ext uri="{FF2B5EF4-FFF2-40B4-BE49-F238E27FC236}">
                <a16:creationId xmlns:a16="http://schemas.microsoft.com/office/drawing/2014/main" id="{1DEBE77C-D20E-4E17-821E-E37406F92D45}"/>
              </a:ext>
            </a:extLst>
          </p:cNvPr>
          <p:cNvSpPr txBox="1"/>
          <p:nvPr/>
        </p:nvSpPr>
        <p:spPr>
          <a:xfrm>
            <a:off x="305318" y="2432689"/>
            <a:ext cx="1509486" cy="584775"/>
          </a:xfrm>
          <a:prstGeom prst="rect">
            <a:avLst/>
          </a:prstGeom>
          <a:noFill/>
        </p:spPr>
        <p:txBody>
          <a:bodyPr wrap="square" lIns="0" tIns="0" rIns="0" bIns="0" rtlCol="0">
            <a:spAutoFit/>
          </a:bodyPr>
          <a:lstStyle/>
          <a:p>
            <a:pPr algn="l"/>
            <a:r>
              <a:rPr lang="nl-NL" sz="1000" b="1" dirty="0"/>
              <a:t>- Bijvoorbeeld ongewenste  associatie met een commercieel product</a:t>
            </a:r>
          </a:p>
        </p:txBody>
      </p:sp>
      <p:sp>
        <p:nvSpPr>
          <p:cNvPr id="147" name="Title 4">
            <a:extLst>
              <a:ext uri="{FF2B5EF4-FFF2-40B4-BE49-F238E27FC236}">
                <a16:creationId xmlns:a16="http://schemas.microsoft.com/office/drawing/2014/main" id="{DFB8379B-C52C-44B1-9975-E4C1FA19CCDF}"/>
              </a:ext>
            </a:extLst>
          </p:cNvPr>
          <p:cNvSpPr txBox="1">
            <a:spLocks/>
          </p:cNvSpPr>
          <p:nvPr/>
        </p:nvSpPr>
        <p:spPr>
          <a:xfrm>
            <a:off x="576262" y="295270"/>
            <a:ext cx="10752137" cy="720000"/>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a:lstStyle>
          <a:p>
            <a:pPr>
              <a:buFontTx/>
            </a:pPr>
            <a:r>
              <a:rPr lang="en-GB" altLang="en-US" dirty="0" err="1"/>
              <a:t>Stroomschema</a:t>
            </a:r>
            <a:r>
              <a:rPr lang="en-GB" altLang="en-US" dirty="0"/>
              <a:t> (</a:t>
            </a:r>
            <a:r>
              <a:rPr lang="en-GB" altLang="en-US" dirty="0" err="1"/>
              <a:t>Pinckaers</a:t>
            </a:r>
            <a:r>
              <a:rPr lang="en-GB" altLang="en-US" dirty="0"/>
              <a:t> en </a:t>
            </a:r>
            <a:r>
              <a:rPr lang="en-GB" altLang="en-US" dirty="0" err="1"/>
              <a:t>Schuijt</a:t>
            </a:r>
            <a:r>
              <a:rPr lang="en-GB" altLang="en-US" dirty="0"/>
              <a:t>)</a:t>
            </a:r>
            <a:endParaRPr lang="en-GB" dirty="0"/>
          </a:p>
        </p:txBody>
      </p:sp>
      <p:cxnSp>
        <p:nvCxnSpPr>
          <p:cNvPr id="155" name="Straight Connector 154">
            <a:extLst>
              <a:ext uri="{FF2B5EF4-FFF2-40B4-BE49-F238E27FC236}">
                <a16:creationId xmlns:a16="http://schemas.microsoft.com/office/drawing/2014/main" id="{03B7BE4A-CF65-4512-A89A-948616AED39F}"/>
              </a:ext>
            </a:extLst>
          </p:cNvPr>
          <p:cNvCxnSpPr>
            <a:cxnSpLocks/>
          </p:cNvCxnSpPr>
          <p:nvPr/>
        </p:nvCxnSpPr>
        <p:spPr>
          <a:xfrm>
            <a:off x="4165440" y="1855829"/>
            <a:ext cx="0" cy="30113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0B4CD8B-F415-4A5D-AE6D-3787E6038458}"/>
              </a:ext>
            </a:extLst>
          </p:cNvPr>
          <p:cNvCxnSpPr>
            <a:cxnSpLocks/>
          </p:cNvCxnSpPr>
          <p:nvPr/>
        </p:nvCxnSpPr>
        <p:spPr>
          <a:xfrm flipH="1">
            <a:off x="4137286" y="2141084"/>
            <a:ext cx="657225"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98E1487-A1C3-4BCC-8195-A5C1F2136655}"/>
              </a:ext>
            </a:extLst>
          </p:cNvPr>
          <p:cNvCxnSpPr>
            <a:cxnSpLocks/>
          </p:cNvCxnSpPr>
          <p:nvPr/>
        </p:nvCxnSpPr>
        <p:spPr>
          <a:xfrm flipH="1">
            <a:off x="5175566" y="2141084"/>
            <a:ext cx="530170"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70868ED-BC16-482B-A7F9-C0C548EF9F78}"/>
              </a:ext>
            </a:extLst>
          </p:cNvPr>
          <p:cNvCxnSpPr>
            <a:cxnSpLocks/>
          </p:cNvCxnSpPr>
          <p:nvPr/>
        </p:nvCxnSpPr>
        <p:spPr>
          <a:xfrm>
            <a:off x="5683090" y="2114124"/>
            <a:ext cx="0" cy="290554"/>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A5B47A23-BE8A-4F96-89D0-6CAC7FF93FD4}"/>
              </a:ext>
            </a:extLst>
          </p:cNvPr>
          <p:cNvCxnSpPr>
            <a:cxnSpLocks/>
          </p:cNvCxnSpPr>
          <p:nvPr/>
        </p:nvCxnSpPr>
        <p:spPr>
          <a:xfrm>
            <a:off x="6013290" y="2980970"/>
            <a:ext cx="0" cy="298957"/>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2D18A667-30A4-49C8-A1FB-8E8DBB5CF163}"/>
              </a:ext>
            </a:extLst>
          </p:cNvPr>
          <p:cNvCxnSpPr>
            <a:cxnSpLocks/>
          </p:cNvCxnSpPr>
          <p:nvPr/>
        </p:nvCxnSpPr>
        <p:spPr>
          <a:xfrm flipH="1">
            <a:off x="5461101" y="3282071"/>
            <a:ext cx="580924"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96" name="Oval 195">
            <a:extLst>
              <a:ext uri="{FF2B5EF4-FFF2-40B4-BE49-F238E27FC236}">
                <a16:creationId xmlns:a16="http://schemas.microsoft.com/office/drawing/2014/main" id="{FF94D867-3801-4519-BB43-0933CB92CBBC}"/>
              </a:ext>
            </a:extLst>
          </p:cNvPr>
          <p:cNvSpPr/>
          <p:nvPr/>
        </p:nvSpPr>
        <p:spPr>
          <a:xfrm>
            <a:off x="8250402" y="418111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97" name="TextBox 196">
            <a:extLst>
              <a:ext uri="{FF2B5EF4-FFF2-40B4-BE49-F238E27FC236}">
                <a16:creationId xmlns:a16="http://schemas.microsoft.com/office/drawing/2014/main" id="{03B9750A-AC7F-4B72-9FFB-B8DD6690310C}"/>
              </a:ext>
            </a:extLst>
          </p:cNvPr>
          <p:cNvSpPr txBox="1"/>
          <p:nvPr/>
        </p:nvSpPr>
        <p:spPr>
          <a:xfrm>
            <a:off x="8287179" y="4261112"/>
            <a:ext cx="238760" cy="146194"/>
          </a:xfrm>
          <a:prstGeom prst="rect">
            <a:avLst/>
          </a:prstGeom>
          <a:noFill/>
        </p:spPr>
        <p:txBody>
          <a:bodyPr wrap="square" lIns="0" tIns="0" rIns="0" bIns="0" rtlCol="0">
            <a:spAutoFit/>
          </a:bodyPr>
          <a:lstStyle/>
          <a:p>
            <a:pPr algn="ctr"/>
            <a:r>
              <a:rPr lang="nl-NL" sz="1000" b="1" dirty="0"/>
              <a:t>Ja</a:t>
            </a:r>
          </a:p>
        </p:txBody>
      </p:sp>
      <p:cxnSp>
        <p:nvCxnSpPr>
          <p:cNvPr id="85" name="Straight Connector 84">
            <a:extLst>
              <a:ext uri="{FF2B5EF4-FFF2-40B4-BE49-F238E27FC236}">
                <a16:creationId xmlns:a16="http://schemas.microsoft.com/office/drawing/2014/main" id="{EBB33AC5-1855-430F-BE61-61B79FF856E0}"/>
              </a:ext>
            </a:extLst>
          </p:cNvPr>
          <p:cNvCxnSpPr>
            <a:cxnSpLocks/>
          </p:cNvCxnSpPr>
          <p:nvPr/>
        </p:nvCxnSpPr>
        <p:spPr>
          <a:xfrm flipH="1">
            <a:off x="4576763" y="3280813"/>
            <a:ext cx="506065"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E00E2F9-3789-4CDC-BAD2-31729DF8FBB0}"/>
              </a:ext>
            </a:extLst>
          </p:cNvPr>
          <p:cNvCxnSpPr>
            <a:cxnSpLocks/>
          </p:cNvCxnSpPr>
          <p:nvPr/>
        </p:nvCxnSpPr>
        <p:spPr>
          <a:xfrm>
            <a:off x="4603750" y="3294400"/>
            <a:ext cx="0" cy="2543009"/>
          </a:xfrm>
          <a:prstGeom prst="line">
            <a:avLst/>
          </a:prstGeom>
          <a:ln w="57150">
            <a:solidFill>
              <a:srgbClr val="FFFF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061648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4AA63B-4AAF-48AA-8C17-4BA03D4D0886}"/>
              </a:ext>
            </a:extLst>
          </p:cNvPr>
          <p:cNvSpPr/>
          <p:nvPr/>
        </p:nvSpPr>
        <p:spPr>
          <a:xfrm>
            <a:off x="3346290" y="1365654"/>
            <a:ext cx="1638300" cy="474300"/>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 name="TextBox 2">
            <a:extLst>
              <a:ext uri="{FF2B5EF4-FFF2-40B4-BE49-F238E27FC236}">
                <a16:creationId xmlns:a16="http://schemas.microsoft.com/office/drawing/2014/main" id="{4A3CC227-1600-4A4D-B38D-AF885B187B8B}"/>
              </a:ext>
            </a:extLst>
          </p:cNvPr>
          <p:cNvSpPr txBox="1"/>
          <p:nvPr/>
        </p:nvSpPr>
        <p:spPr>
          <a:xfrm>
            <a:off x="3488370" y="1456610"/>
            <a:ext cx="1400970" cy="292388"/>
          </a:xfrm>
          <a:prstGeom prst="rect">
            <a:avLst/>
          </a:prstGeom>
          <a:noFill/>
        </p:spPr>
        <p:txBody>
          <a:bodyPr wrap="square" lIns="0" tIns="0" rIns="0" bIns="0" rtlCol="0">
            <a:spAutoFit/>
          </a:bodyPr>
          <a:lstStyle/>
          <a:p>
            <a:pPr algn="l"/>
            <a:r>
              <a:rPr lang="nl-NL" sz="1000" b="1" dirty="0"/>
              <a:t>Gaat het alleen om een commercieel belang?</a:t>
            </a:r>
          </a:p>
        </p:txBody>
      </p:sp>
      <p:cxnSp>
        <p:nvCxnSpPr>
          <p:cNvPr id="6" name="Straight Connector 5">
            <a:extLst>
              <a:ext uri="{FF2B5EF4-FFF2-40B4-BE49-F238E27FC236}">
                <a16:creationId xmlns:a16="http://schemas.microsoft.com/office/drawing/2014/main" id="{777B5499-AE93-4CF8-864F-16186E946876}"/>
              </a:ext>
            </a:extLst>
          </p:cNvPr>
          <p:cNvCxnSpPr>
            <a:cxnSpLocks/>
            <a:stCxn id="2" idx="2"/>
          </p:cNvCxnSpPr>
          <p:nvPr/>
        </p:nvCxnSpPr>
        <p:spPr>
          <a:xfrm>
            <a:off x="4165440" y="183995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BD4FF6-054D-4DC2-B376-E9B528BA2B56}"/>
              </a:ext>
            </a:extLst>
          </p:cNvPr>
          <p:cNvCxnSpPr>
            <a:cxnSpLocks/>
          </p:cNvCxnSpPr>
          <p:nvPr/>
        </p:nvCxnSpPr>
        <p:spPr>
          <a:xfrm>
            <a:off x="2698590" y="214108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8BCA8E74-B98D-4335-B4E3-F2E1DA78D539}"/>
              </a:ext>
            </a:extLst>
          </p:cNvPr>
          <p:cNvSpPr/>
          <p:nvPr/>
        </p:nvSpPr>
        <p:spPr>
          <a:xfrm>
            <a:off x="4814410" y="197144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 name="TextBox 13">
            <a:extLst>
              <a:ext uri="{FF2B5EF4-FFF2-40B4-BE49-F238E27FC236}">
                <a16:creationId xmlns:a16="http://schemas.microsoft.com/office/drawing/2014/main" id="{6BF29656-0740-4487-BA72-6E989BD28750}"/>
              </a:ext>
            </a:extLst>
          </p:cNvPr>
          <p:cNvSpPr txBox="1"/>
          <p:nvPr/>
        </p:nvSpPr>
        <p:spPr>
          <a:xfrm>
            <a:off x="4865210" y="2058462"/>
            <a:ext cx="238760" cy="146194"/>
          </a:xfrm>
          <a:prstGeom prst="rect">
            <a:avLst/>
          </a:prstGeom>
          <a:noFill/>
        </p:spPr>
        <p:txBody>
          <a:bodyPr wrap="square" lIns="0" tIns="0" rIns="0" bIns="0" rtlCol="0">
            <a:spAutoFit/>
          </a:bodyPr>
          <a:lstStyle/>
          <a:p>
            <a:pPr algn="ctr"/>
            <a:r>
              <a:rPr lang="nl-NL" sz="1000" b="1" dirty="0"/>
              <a:t>Ja</a:t>
            </a:r>
          </a:p>
        </p:txBody>
      </p:sp>
      <p:sp>
        <p:nvSpPr>
          <p:cNvPr id="22" name="Oval 21">
            <a:extLst>
              <a:ext uri="{FF2B5EF4-FFF2-40B4-BE49-F238E27FC236}">
                <a16:creationId xmlns:a16="http://schemas.microsoft.com/office/drawing/2014/main" id="{2C1E1805-B2C1-4A64-8081-8972806C35CB}"/>
              </a:ext>
            </a:extLst>
          </p:cNvPr>
          <p:cNvSpPr/>
          <p:nvPr/>
        </p:nvSpPr>
        <p:spPr>
          <a:xfrm>
            <a:off x="3198810" y="198096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23" name="TextBox 22">
            <a:extLst>
              <a:ext uri="{FF2B5EF4-FFF2-40B4-BE49-F238E27FC236}">
                <a16:creationId xmlns:a16="http://schemas.microsoft.com/office/drawing/2014/main" id="{F562E431-4B71-4326-93B1-9AF277E918EC}"/>
              </a:ext>
            </a:extLst>
          </p:cNvPr>
          <p:cNvSpPr txBox="1"/>
          <p:nvPr/>
        </p:nvSpPr>
        <p:spPr>
          <a:xfrm>
            <a:off x="3249610" y="2067987"/>
            <a:ext cx="238760" cy="146194"/>
          </a:xfrm>
          <a:prstGeom prst="rect">
            <a:avLst/>
          </a:prstGeom>
          <a:noFill/>
        </p:spPr>
        <p:txBody>
          <a:bodyPr wrap="square" lIns="0" tIns="0" rIns="0" bIns="0" rtlCol="0">
            <a:spAutoFit/>
          </a:bodyPr>
          <a:lstStyle/>
          <a:p>
            <a:pPr algn="ctr"/>
            <a:r>
              <a:rPr lang="nl-NL" sz="1000" b="1" dirty="0"/>
              <a:t>Nee</a:t>
            </a:r>
          </a:p>
        </p:txBody>
      </p:sp>
      <p:cxnSp>
        <p:nvCxnSpPr>
          <p:cNvPr id="27" name="Straight Connector 26">
            <a:extLst>
              <a:ext uri="{FF2B5EF4-FFF2-40B4-BE49-F238E27FC236}">
                <a16:creationId xmlns:a16="http://schemas.microsoft.com/office/drawing/2014/main" id="{BAEA7DC0-1330-4960-8A0D-06F3A358C131}"/>
              </a:ext>
            </a:extLst>
          </p:cNvPr>
          <p:cNvCxnSpPr>
            <a:cxnSpLocks/>
          </p:cNvCxnSpPr>
          <p:nvPr/>
        </p:nvCxnSpPr>
        <p:spPr>
          <a:xfrm>
            <a:off x="2698590" y="214108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782F92-166B-4062-B59B-A62E17D222E8}"/>
              </a:ext>
            </a:extLst>
          </p:cNvPr>
          <p:cNvCxnSpPr>
            <a:cxnSpLocks/>
          </p:cNvCxnSpPr>
          <p:nvPr/>
        </p:nvCxnSpPr>
        <p:spPr>
          <a:xfrm>
            <a:off x="5683090" y="2131559"/>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640DC87-CC51-4A0E-AA1D-50AE925A217F}"/>
              </a:ext>
            </a:extLst>
          </p:cNvPr>
          <p:cNvSpPr/>
          <p:nvPr/>
        </p:nvSpPr>
        <p:spPr>
          <a:xfrm>
            <a:off x="5205728" y="2420792"/>
            <a:ext cx="1638300" cy="5473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0" name="TextBox 29">
            <a:extLst>
              <a:ext uri="{FF2B5EF4-FFF2-40B4-BE49-F238E27FC236}">
                <a16:creationId xmlns:a16="http://schemas.microsoft.com/office/drawing/2014/main" id="{C0475137-86B3-4917-B9C0-AB227344EA19}"/>
              </a:ext>
            </a:extLst>
          </p:cNvPr>
          <p:cNvSpPr txBox="1"/>
          <p:nvPr/>
        </p:nvSpPr>
        <p:spPr>
          <a:xfrm>
            <a:off x="5263989" y="2484915"/>
            <a:ext cx="1580039" cy="438582"/>
          </a:xfrm>
          <a:prstGeom prst="rect">
            <a:avLst/>
          </a:prstGeom>
          <a:noFill/>
        </p:spPr>
        <p:txBody>
          <a:bodyPr wrap="square" lIns="0" tIns="0" rIns="0" bIns="0" rtlCol="0">
            <a:spAutoFit/>
          </a:bodyPr>
          <a:lstStyle/>
          <a:p>
            <a:pPr algn="l"/>
            <a:r>
              <a:rPr lang="nl-NL" sz="1000" b="1" dirty="0"/>
              <a:t>Zijn er omstandigheden, die rechtvaardigen daaraan voorbij te gaan?</a:t>
            </a:r>
          </a:p>
        </p:txBody>
      </p:sp>
      <p:cxnSp>
        <p:nvCxnSpPr>
          <p:cNvPr id="31" name="Straight Connector 30">
            <a:extLst>
              <a:ext uri="{FF2B5EF4-FFF2-40B4-BE49-F238E27FC236}">
                <a16:creationId xmlns:a16="http://schemas.microsoft.com/office/drawing/2014/main" id="{7B8E2A95-4E98-4063-B191-C684EE98C8B4}"/>
              </a:ext>
            </a:extLst>
          </p:cNvPr>
          <p:cNvCxnSpPr>
            <a:cxnSpLocks/>
          </p:cNvCxnSpPr>
          <p:nvPr/>
        </p:nvCxnSpPr>
        <p:spPr>
          <a:xfrm>
            <a:off x="4603750" y="3285355"/>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F24F7763-629E-4BA0-84C7-7ADFF6C7F211}"/>
              </a:ext>
            </a:extLst>
          </p:cNvPr>
          <p:cNvSpPr/>
          <p:nvPr/>
        </p:nvSpPr>
        <p:spPr>
          <a:xfrm>
            <a:off x="6711450" y="3118783"/>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4" name="Oval 33">
            <a:extLst>
              <a:ext uri="{FF2B5EF4-FFF2-40B4-BE49-F238E27FC236}">
                <a16:creationId xmlns:a16="http://schemas.microsoft.com/office/drawing/2014/main" id="{7CAA5729-16F8-4013-B47F-C7CD3547C566}"/>
              </a:ext>
            </a:extLst>
          </p:cNvPr>
          <p:cNvSpPr/>
          <p:nvPr/>
        </p:nvSpPr>
        <p:spPr>
          <a:xfrm>
            <a:off x="5103970" y="314029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36" name="Straight Connector 35">
            <a:extLst>
              <a:ext uri="{FF2B5EF4-FFF2-40B4-BE49-F238E27FC236}">
                <a16:creationId xmlns:a16="http://schemas.microsoft.com/office/drawing/2014/main" id="{87CA7E61-3F33-4EB6-960C-4CE280A5ABB6}"/>
              </a:ext>
            </a:extLst>
          </p:cNvPr>
          <p:cNvCxnSpPr>
            <a:cxnSpLocks/>
          </p:cNvCxnSpPr>
          <p:nvPr/>
        </p:nvCxnSpPr>
        <p:spPr>
          <a:xfrm>
            <a:off x="4603750" y="3285355"/>
            <a:ext cx="0" cy="2797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9A3D5EF-43CB-451B-B568-B53480E1D47D}"/>
              </a:ext>
            </a:extLst>
          </p:cNvPr>
          <p:cNvCxnSpPr>
            <a:cxnSpLocks/>
          </p:cNvCxnSpPr>
          <p:nvPr/>
        </p:nvCxnSpPr>
        <p:spPr>
          <a:xfrm>
            <a:off x="7588250" y="327583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D8AC045-C7DE-4588-A7E4-7598C7B20471}"/>
              </a:ext>
            </a:extLst>
          </p:cNvPr>
          <p:cNvCxnSpPr>
            <a:cxnSpLocks/>
          </p:cNvCxnSpPr>
          <p:nvPr/>
        </p:nvCxnSpPr>
        <p:spPr>
          <a:xfrm>
            <a:off x="6013290" y="298097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46457EA-0AC8-4B53-B7D9-BB4DB0EA5BFC}"/>
              </a:ext>
            </a:extLst>
          </p:cNvPr>
          <p:cNvSpPr/>
          <p:nvPr/>
        </p:nvSpPr>
        <p:spPr>
          <a:xfrm>
            <a:off x="6782348" y="3582689"/>
            <a:ext cx="1638300" cy="443824"/>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48" name="TextBox 47">
            <a:extLst>
              <a:ext uri="{FF2B5EF4-FFF2-40B4-BE49-F238E27FC236}">
                <a16:creationId xmlns:a16="http://schemas.microsoft.com/office/drawing/2014/main" id="{4909BCBC-3AEB-405C-B0AE-DCC96A0DCED5}"/>
              </a:ext>
            </a:extLst>
          </p:cNvPr>
          <p:cNvSpPr txBox="1"/>
          <p:nvPr/>
        </p:nvSpPr>
        <p:spPr>
          <a:xfrm>
            <a:off x="6840609" y="3646812"/>
            <a:ext cx="1580039" cy="292388"/>
          </a:xfrm>
          <a:prstGeom prst="rect">
            <a:avLst/>
          </a:prstGeom>
          <a:noFill/>
        </p:spPr>
        <p:txBody>
          <a:bodyPr wrap="square" lIns="0" tIns="0" rIns="0" bIns="0" rtlCol="0">
            <a:spAutoFit/>
          </a:bodyPr>
          <a:lstStyle/>
          <a:p>
            <a:pPr algn="l"/>
            <a:r>
              <a:rPr lang="nl-NL" sz="1000" b="1" dirty="0"/>
              <a:t>Is er een redelijke vergoeding aangeboden?</a:t>
            </a:r>
          </a:p>
        </p:txBody>
      </p:sp>
      <p:cxnSp>
        <p:nvCxnSpPr>
          <p:cNvPr id="52" name="Straight Connector 51">
            <a:extLst>
              <a:ext uri="{FF2B5EF4-FFF2-40B4-BE49-F238E27FC236}">
                <a16:creationId xmlns:a16="http://schemas.microsoft.com/office/drawing/2014/main" id="{9E53E2B1-38C6-4933-88F0-A94EAD24EAC7}"/>
              </a:ext>
            </a:extLst>
          </p:cNvPr>
          <p:cNvCxnSpPr>
            <a:cxnSpLocks/>
          </p:cNvCxnSpPr>
          <p:nvPr/>
        </p:nvCxnSpPr>
        <p:spPr>
          <a:xfrm>
            <a:off x="7610867" y="4037233"/>
            <a:ext cx="1011" cy="3088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9968F71-9C41-43FD-B0B5-FC38E4580903}"/>
              </a:ext>
            </a:extLst>
          </p:cNvPr>
          <p:cNvCxnSpPr>
            <a:cxnSpLocks/>
          </p:cNvCxnSpPr>
          <p:nvPr/>
        </p:nvCxnSpPr>
        <p:spPr>
          <a:xfrm>
            <a:off x="6106481" y="4345791"/>
            <a:ext cx="3003777" cy="952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16D10688-034F-4D36-8F4B-546B50EB2B89}"/>
              </a:ext>
            </a:extLst>
          </p:cNvPr>
          <p:cNvSpPr/>
          <p:nvPr/>
        </p:nvSpPr>
        <p:spPr>
          <a:xfrm>
            <a:off x="6625978" y="4195198"/>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57" name="TextBox 56">
            <a:extLst>
              <a:ext uri="{FF2B5EF4-FFF2-40B4-BE49-F238E27FC236}">
                <a16:creationId xmlns:a16="http://schemas.microsoft.com/office/drawing/2014/main" id="{D51D173E-97B3-4876-A8C8-E38877D92E8B}"/>
              </a:ext>
            </a:extLst>
          </p:cNvPr>
          <p:cNvSpPr txBox="1"/>
          <p:nvPr/>
        </p:nvSpPr>
        <p:spPr>
          <a:xfrm>
            <a:off x="6676778" y="4282219"/>
            <a:ext cx="238760" cy="146194"/>
          </a:xfrm>
          <a:prstGeom prst="rect">
            <a:avLst/>
          </a:prstGeom>
          <a:noFill/>
        </p:spPr>
        <p:txBody>
          <a:bodyPr wrap="square" lIns="0" tIns="0" rIns="0" bIns="0" rtlCol="0">
            <a:spAutoFit/>
          </a:bodyPr>
          <a:lstStyle/>
          <a:p>
            <a:pPr algn="ctr"/>
            <a:r>
              <a:rPr lang="nl-NL" sz="1000" b="1" dirty="0"/>
              <a:t>Nee</a:t>
            </a:r>
          </a:p>
        </p:txBody>
      </p:sp>
      <p:cxnSp>
        <p:nvCxnSpPr>
          <p:cNvPr id="58" name="Straight Connector 57">
            <a:extLst>
              <a:ext uri="{FF2B5EF4-FFF2-40B4-BE49-F238E27FC236}">
                <a16:creationId xmlns:a16="http://schemas.microsoft.com/office/drawing/2014/main" id="{CDA9C1FF-36D9-4166-88DA-331CA02D1C71}"/>
              </a:ext>
            </a:extLst>
          </p:cNvPr>
          <p:cNvCxnSpPr>
            <a:cxnSpLocks/>
          </p:cNvCxnSpPr>
          <p:nvPr/>
        </p:nvCxnSpPr>
        <p:spPr>
          <a:xfrm>
            <a:off x="6106481" y="4345791"/>
            <a:ext cx="0" cy="173713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213441D-DC04-4B32-9BCF-EA973FC849BB}"/>
              </a:ext>
            </a:extLst>
          </p:cNvPr>
          <p:cNvCxnSpPr>
            <a:cxnSpLocks/>
          </p:cNvCxnSpPr>
          <p:nvPr/>
        </p:nvCxnSpPr>
        <p:spPr>
          <a:xfrm>
            <a:off x="9110258" y="4345791"/>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B545E02-BCF2-4EC2-BBD5-98D3F32104CA}"/>
              </a:ext>
            </a:extLst>
          </p:cNvPr>
          <p:cNvSpPr/>
          <p:nvPr/>
        </p:nvSpPr>
        <p:spPr>
          <a:xfrm>
            <a:off x="8244360" y="4646093"/>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1" name="TextBox 60">
            <a:extLst>
              <a:ext uri="{FF2B5EF4-FFF2-40B4-BE49-F238E27FC236}">
                <a16:creationId xmlns:a16="http://schemas.microsoft.com/office/drawing/2014/main" id="{659B583B-09BC-4D14-9579-97F609300A5C}"/>
              </a:ext>
            </a:extLst>
          </p:cNvPr>
          <p:cNvSpPr txBox="1"/>
          <p:nvPr/>
        </p:nvSpPr>
        <p:spPr>
          <a:xfrm>
            <a:off x="8301385" y="4701787"/>
            <a:ext cx="1727519" cy="438582"/>
          </a:xfrm>
          <a:prstGeom prst="rect">
            <a:avLst/>
          </a:prstGeom>
          <a:noFill/>
        </p:spPr>
        <p:txBody>
          <a:bodyPr wrap="square" lIns="0" tIns="0" rIns="0" bIns="0" rtlCol="0">
            <a:spAutoFit/>
          </a:bodyPr>
          <a:lstStyle/>
          <a:p>
            <a:pPr algn="l"/>
            <a:r>
              <a:rPr lang="nl-NL" sz="1000" b="1" dirty="0"/>
              <a:t>Is er sprake van bijkomende omstandigheden, die zwaarder wegen?</a:t>
            </a:r>
          </a:p>
        </p:txBody>
      </p:sp>
      <p:cxnSp>
        <p:nvCxnSpPr>
          <p:cNvPr id="62" name="Straight Connector 61">
            <a:extLst>
              <a:ext uri="{FF2B5EF4-FFF2-40B4-BE49-F238E27FC236}">
                <a16:creationId xmlns:a16="http://schemas.microsoft.com/office/drawing/2014/main" id="{EDAF109D-26E9-45E1-8D17-2A9423007A9A}"/>
              </a:ext>
            </a:extLst>
          </p:cNvPr>
          <p:cNvCxnSpPr>
            <a:cxnSpLocks/>
          </p:cNvCxnSpPr>
          <p:nvPr/>
        </p:nvCxnSpPr>
        <p:spPr>
          <a:xfrm>
            <a:off x="9114958" y="5246605"/>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CEFBA0-B0ED-452C-A609-30B25281605A}"/>
              </a:ext>
            </a:extLst>
          </p:cNvPr>
          <p:cNvCxnSpPr>
            <a:cxnSpLocks/>
          </p:cNvCxnSpPr>
          <p:nvPr/>
        </p:nvCxnSpPr>
        <p:spPr>
          <a:xfrm>
            <a:off x="7716826" y="555252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7D0992D6-462A-4474-A14F-0FBAE2C87A75}"/>
              </a:ext>
            </a:extLst>
          </p:cNvPr>
          <p:cNvSpPr/>
          <p:nvPr/>
        </p:nvSpPr>
        <p:spPr>
          <a:xfrm>
            <a:off x="9832646" y="538288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5" name="TextBox 64">
            <a:extLst>
              <a:ext uri="{FF2B5EF4-FFF2-40B4-BE49-F238E27FC236}">
                <a16:creationId xmlns:a16="http://schemas.microsoft.com/office/drawing/2014/main" id="{DCB6607F-A6C4-4385-9E9D-45333D3A096A}"/>
              </a:ext>
            </a:extLst>
          </p:cNvPr>
          <p:cNvSpPr txBox="1"/>
          <p:nvPr/>
        </p:nvSpPr>
        <p:spPr>
          <a:xfrm>
            <a:off x="9883446" y="546990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66" name="Oval 65">
            <a:extLst>
              <a:ext uri="{FF2B5EF4-FFF2-40B4-BE49-F238E27FC236}">
                <a16:creationId xmlns:a16="http://schemas.microsoft.com/office/drawing/2014/main" id="{856D15A6-66C5-45CD-83FA-64B16EB1ECCC}"/>
              </a:ext>
            </a:extLst>
          </p:cNvPr>
          <p:cNvSpPr/>
          <p:nvPr/>
        </p:nvSpPr>
        <p:spPr>
          <a:xfrm>
            <a:off x="8217046" y="539240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7" name="TextBox 66">
            <a:extLst>
              <a:ext uri="{FF2B5EF4-FFF2-40B4-BE49-F238E27FC236}">
                <a16:creationId xmlns:a16="http://schemas.microsoft.com/office/drawing/2014/main" id="{DF68BA85-9274-4715-92A3-96CA0BE6FCFD}"/>
              </a:ext>
            </a:extLst>
          </p:cNvPr>
          <p:cNvSpPr txBox="1"/>
          <p:nvPr/>
        </p:nvSpPr>
        <p:spPr>
          <a:xfrm>
            <a:off x="8267846" y="5479427"/>
            <a:ext cx="238760" cy="146194"/>
          </a:xfrm>
          <a:prstGeom prst="rect">
            <a:avLst/>
          </a:prstGeom>
          <a:noFill/>
        </p:spPr>
        <p:txBody>
          <a:bodyPr wrap="square" lIns="0" tIns="0" rIns="0" bIns="0" rtlCol="0">
            <a:spAutoFit/>
          </a:bodyPr>
          <a:lstStyle/>
          <a:p>
            <a:pPr algn="ctr"/>
            <a:r>
              <a:rPr lang="nl-NL" sz="1000" b="1" dirty="0"/>
              <a:t>Nee</a:t>
            </a:r>
          </a:p>
        </p:txBody>
      </p:sp>
      <p:cxnSp>
        <p:nvCxnSpPr>
          <p:cNvPr id="68" name="Straight Connector 67">
            <a:extLst>
              <a:ext uri="{FF2B5EF4-FFF2-40B4-BE49-F238E27FC236}">
                <a16:creationId xmlns:a16="http://schemas.microsoft.com/office/drawing/2014/main" id="{C049A8CB-01C0-4441-B1CD-012C77785216}"/>
              </a:ext>
            </a:extLst>
          </p:cNvPr>
          <p:cNvCxnSpPr>
            <a:cxnSpLocks/>
          </p:cNvCxnSpPr>
          <p:nvPr/>
        </p:nvCxnSpPr>
        <p:spPr>
          <a:xfrm>
            <a:off x="7716826" y="5550747"/>
            <a:ext cx="0" cy="54108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C16183-5358-4CAB-A9D2-E7CBDA05A482}"/>
              </a:ext>
            </a:extLst>
          </p:cNvPr>
          <p:cNvSpPr txBox="1"/>
          <p:nvPr/>
        </p:nvSpPr>
        <p:spPr>
          <a:xfrm>
            <a:off x="5144609" y="3243600"/>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71" name="TextBox 70">
            <a:extLst>
              <a:ext uri="{FF2B5EF4-FFF2-40B4-BE49-F238E27FC236}">
                <a16:creationId xmlns:a16="http://schemas.microsoft.com/office/drawing/2014/main" id="{CECE2BE7-83E9-4AC5-A603-173BD6215BEB}"/>
              </a:ext>
            </a:extLst>
          </p:cNvPr>
          <p:cNvSpPr txBox="1"/>
          <p:nvPr/>
        </p:nvSpPr>
        <p:spPr>
          <a:xfrm>
            <a:off x="6762250" y="3194760"/>
            <a:ext cx="238760" cy="146194"/>
          </a:xfrm>
          <a:prstGeom prst="rect">
            <a:avLst/>
          </a:prstGeom>
          <a:noFill/>
        </p:spPr>
        <p:txBody>
          <a:bodyPr wrap="square" lIns="0" tIns="0" rIns="0" bIns="0" rtlCol="0">
            <a:spAutoFit/>
          </a:bodyPr>
          <a:lstStyle/>
          <a:p>
            <a:pPr algn="ctr"/>
            <a:r>
              <a:rPr lang="nl-NL" sz="1000" b="1" dirty="0"/>
              <a:t>Nee</a:t>
            </a:r>
          </a:p>
        </p:txBody>
      </p:sp>
      <p:sp>
        <p:nvSpPr>
          <p:cNvPr id="75" name="TextBox 74">
            <a:extLst>
              <a:ext uri="{FF2B5EF4-FFF2-40B4-BE49-F238E27FC236}">
                <a16:creationId xmlns:a16="http://schemas.microsoft.com/office/drawing/2014/main" id="{88A9D700-3A8D-4CA3-AA7F-E87251976D43}"/>
              </a:ext>
            </a:extLst>
          </p:cNvPr>
          <p:cNvSpPr txBox="1"/>
          <p:nvPr/>
        </p:nvSpPr>
        <p:spPr>
          <a:xfrm>
            <a:off x="7002607" y="2457987"/>
            <a:ext cx="2384827" cy="292388"/>
          </a:xfrm>
          <a:prstGeom prst="rect">
            <a:avLst/>
          </a:prstGeom>
          <a:noFill/>
        </p:spPr>
        <p:txBody>
          <a:bodyPr wrap="square" lIns="0" tIns="0" rIns="0" bIns="0" rtlCol="0">
            <a:spAutoFit/>
          </a:bodyPr>
          <a:lstStyle/>
          <a:p>
            <a:pPr algn="l"/>
            <a:r>
              <a:rPr lang="nl-NL" sz="1000" b="1" dirty="0"/>
              <a:t>- Bijvoorbeeld de grote informatieve waarde van de publicatie</a:t>
            </a:r>
          </a:p>
        </p:txBody>
      </p:sp>
      <p:sp>
        <p:nvSpPr>
          <p:cNvPr id="78" name="TextBox 77">
            <a:extLst>
              <a:ext uri="{FF2B5EF4-FFF2-40B4-BE49-F238E27FC236}">
                <a16:creationId xmlns:a16="http://schemas.microsoft.com/office/drawing/2014/main" id="{9F933D8F-59AF-4C1C-A767-2A59455D5382}"/>
              </a:ext>
            </a:extLst>
          </p:cNvPr>
          <p:cNvSpPr txBox="1"/>
          <p:nvPr/>
        </p:nvSpPr>
        <p:spPr>
          <a:xfrm>
            <a:off x="10177377" y="4704117"/>
            <a:ext cx="1489028" cy="584775"/>
          </a:xfrm>
          <a:prstGeom prst="rect">
            <a:avLst/>
          </a:prstGeom>
          <a:noFill/>
        </p:spPr>
        <p:txBody>
          <a:bodyPr wrap="square" lIns="0" tIns="0" rIns="0" bIns="0" rtlCol="0">
            <a:spAutoFit/>
          </a:bodyPr>
          <a:lstStyle/>
          <a:p>
            <a:pPr algn="l"/>
            <a:r>
              <a:rPr lang="nl-NL" sz="1000" b="1" dirty="0"/>
              <a:t>- Bijvoorbeeld de publicatie is schadelijk voor de wijze van exploitatie</a:t>
            </a:r>
          </a:p>
        </p:txBody>
      </p:sp>
      <p:cxnSp>
        <p:nvCxnSpPr>
          <p:cNvPr id="88" name="Straight Connector 87">
            <a:extLst>
              <a:ext uri="{FF2B5EF4-FFF2-40B4-BE49-F238E27FC236}">
                <a16:creationId xmlns:a16="http://schemas.microsoft.com/office/drawing/2014/main" id="{9442AA6A-6C6F-4896-A7E3-CEDC647722F7}"/>
              </a:ext>
            </a:extLst>
          </p:cNvPr>
          <p:cNvCxnSpPr>
            <a:cxnSpLocks/>
          </p:cNvCxnSpPr>
          <p:nvPr/>
        </p:nvCxnSpPr>
        <p:spPr>
          <a:xfrm>
            <a:off x="10701326" y="5552524"/>
            <a:ext cx="0" cy="5304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4E50DD30-37F1-4477-9100-943D3E575285}"/>
              </a:ext>
            </a:extLst>
          </p:cNvPr>
          <p:cNvSpPr/>
          <p:nvPr/>
        </p:nvSpPr>
        <p:spPr>
          <a:xfrm>
            <a:off x="9910976" y="5845157"/>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2" name="TextBox 91">
            <a:extLst>
              <a:ext uri="{FF2B5EF4-FFF2-40B4-BE49-F238E27FC236}">
                <a16:creationId xmlns:a16="http://schemas.microsoft.com/office/drawing/2014/main" id="{0C7EEA12-6367-43CC-B3CD-47EF404540A5}"/>
              </a:ext>
            </a:extLst>
          </p:cNvPr>
          <p:cNvSpPr txBox="1"/>
          <p:nvPr/>
        </p:nvSpPr>
        <p:spPr>
          <a:xfrm>
            <a:off x="10013683" y="5908450"/>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95" name="Rectangle 94">
            <a:extLst>
              <a:ext uri="{FF2B5EF4-FFF2-40B4-BE49-F238E27FC236}">
                <a16:creationId xmlns:a16="http://schemas.microsoft.com/office/drawing/2014/main" id="{7924FFC3-A9B8-440C-8CB6-DBFB25D4FC59}"/>
              </a:ext>
            </a:extLst>
          </p:cNvPr>
          <p:cNvSpPr/>
          <p:nvPr/>
        </p:nvSpPr>
        <p:spPr>
          <a:xfrm>
            <a:off x="3775489" y="5837409"/>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6" name="TextBox 95">
            <a:extLst>
              <a:ext uri="{FF2B5EF4-FFF2-40B4-BE49-F238E27FC236}">
                <a16:creationId xmlns:a16="http://schemas.microsoft.com/office/drawing/2014/main" id="{1691F3B4-2E76-4EA7-B05B-E7D3D79F1CDB}"/>
              </a:ext>
            </a:extLst>
          </p:cNvPr>
          <p:cNvSpPr txBox="1"/>
          <p:nvPr/>
        </p:nvSpPr>
        <p:spPr>
          <a:xfrm>
            <a:off x="3878195" y="5900702"/>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98" name="Rectangle 97">
            <a:extLst>
              <a:ext uri="{FF2B5EF4-FFF2-40B4-BE49-F238E27FC236}">
                <a16:creationId xmlns:a16="http://schemas.microsoft.com/office/drawing/2014/main" id="{65874EB7-8523-4BBE-9063-E396A3CD365B}"/>
              </a:ext>
            </a:extLst>
          </p:cNvPr>
          <p:cNvSpPr/>
          <p:nvPr/>
        </p:nvSpPr>
        <p:spPr>
          <a:xfrm>
            <a:off x="7317653" y="5851723"/>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9" name="TextBox 98">
            <a:extLst>
              <a:ext uri="{FF2B5EF4-FFF2-40B4-BE49-F238E27FC236}">
                <a16:creationId xmlns:a16="http://schemas.microsoft.com/office/drawing/2014/main" id="{C2B4C830-1606-4459-BA48-B3616C21F373}"/>
              </a:ext>
            </a:extLst>
          </p:cNvPr>
          <p:cNvSpPr txBox="1"/>
          <p:nvPr/>
        </p:nvSpPr>
        <p:spPr>
          <a:xfrm>
            <a:off x="7478075" y="5915016"/>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101" name="Rectangle 100">
            <a:extLst>
              <a:ext uri="{FF2B5EF4-FFF2-40B4-BE49-F238E27FC236}">
                <a16:creationId xmlns:a16="http://schemas.microsoft.com/office/drawing/2014/main" id="{18D2BBA3-1CFD-44B6-A9E3-2D3BA0B7354D}"/>
              </a:ext>
            </a:extLst>
          </p:cNvPr>
          <p:cNvSpPr/>
          <p:nvPr/>
        </p:nvSpPr>
        <p:spPr>
          <a:xfrm>
            <a:off x="5539015" y="5830550"/>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2" name="TextBox 101">
            <a:extLst>
              <a:ext uri="{FF2B5EF4-FFF2-40B4-BE49-F238E27FC236}">
                <a16:creationId xmlns:a16="http://schemas.microsoft.com/office/drawing/2014/main" id="{83A5AAE7-12D9-4338-A31E-4960F204A60F}"/>
              </a:ext>
            </a:extLst>
          </p:cNvPr>
          <p:cNvSpPr txBox="1"/>
          <p:nvPr/>
        </p:nvSpPr>
        <p:spPr>
          <a:xfrm>
            <a:off x="5641722" y="5893843"/>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06" name="Rectangle 105">
            <a:extLst>
              <a:ext uri="{FF2B5EF4-FFF2-40B4-BE49-F238E27FC236}">
                <a16:creationId xmlns:a16="http://schemas.microsoft.com/office/drawing/2014/main" id="{451E2EB0-C06D-4FF8-86B2-4AD4B5CD2271}"/>
              </a:ext>
            </a:extLst>
          </p:cNvPr>
          <p:cNvSpPr/>
          <p:nvPr/>
        </p:nvSpPr>
        <p:spPr>
          <a:xfrm>
            <a:off x="9910976" y="5837409"/>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7" name="TextBox 106">
            <a:extLst>
              <a:ext uri="{FF2B5EF4-FFF2-40B4-BE49-F238E27FC236}">
                <a16:creationId xmlns:a16="http://schemas.microsoft.com/office/drawing/2014/main" id="{609E68FE-A3F3-428A-8593-ED604F2FE595}"/>
              </a:ext>
            </a:extLst>
          </p:cNvPr>
          <p:cNvSpPr txBox="1"/>
          <p:nvPr/>
        </p:nvSpPr>
        <p:spPr>
          <a:xfrm>
            <a:off x="10013683" y="5900702"/>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24" name="Rectangle 123">
            <a:extLst>
              <a:ext uri="{FF2B5EF4-FFF2-40B4-BE49-F238E27FC236}">
                <a16:creationId xmlns:a16="http://schemas.microsoft.com/office/drawing/2014/main" id="{C8B8F766-1712-4473-87E4-3C7830A939E3}"/>
              </a:ext>
            </a:extLst>
          </p:cNvPr>
          <p:cNvSpPr/>
          <p:nvPr/>
        </p:nvSpPr>
        <p:spPr>
          <a:xfrm>
            <a:off x="1866934" y="2418605"/>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5" name="TextBox 124">
            <a:extLst>
              <a:ext uri="{FF2B5EF4-FFF2-40B4-BE49-F238E27FC236}">
                <a16:creationId xmlns:a16="http://schemas.microsoft.com/office/drawing/2014/main" id="{30FDF0AB-28BD-428B-B668-8463A9ACF6F0}"/>
              </a:ext>
            </a:extLst>
          </p:cNvPr>
          <p:cNvSpPr txBox="1"/>
          <p:nvPr/>
        </p:nvSpPr>
        <p:spPr>
          <a:xfrm>
            <a:off x="1923959" y="2474299"/>
            <a:ext cx="1727519" cy="438582"/>
          </a:xfrm>
          <a:prstGeom prst="rect">
            <a:avLst/>
          </a:prstGeom>
          <a:noFill/>
        </p:spPr>
        <p:txBody>
          <a:bodyPr wrap="square" lIns="0" tIns="0" rIns="0" bIns="0" rtlCol="0">
            <a:spAutoFit/>
          </a:bodyPr>
          <a:lstStyle/>
          <a:p>
            <a:pPr algn="l"/>
            <a:r>
              <a:rPr lang="nl-NL" sz="1000" b="1" dirty="0"/>
              <a:t>Is er sprake van een privacybelang dat zwaarder weegt</a:t>
            </a:r>
          </a:p>
        </p:txBody>
      </p:sp>
      <p:cxnSp>
        <p:nvCxnSpPr>
          <p:cNvPr id="126" name="Straight Connector 125">
            <a:extLst>
              <a:ext uri="{FF2B5EF4-FFF2-40B4-BE49-F238E27FC236}">
                <a16:creationId xmlns:a16="http://schemas.microsoft.com/office/drawing/2014/main" id="{F972DA0F-5EA6-4B15-9BEC-6DDF1E5AEA5B}"/>
              </a:ext>
            </a:extLst>
          </p:cNvPr>
          <p:cNvCxnSpPr>
            <a:cxnSpLocks/>
          </p:cNvCxnSpPr>
          <p:nvPr/>
        </p:nvCxnSpPr>
        <p:spPr>
          <a:xfrm>
            <a:off x="1281826" y="3345747"/>
            <a:ext cx="288361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0D0A9401-8F6A-4DC2-BA84-120FF7BA7FF8}"/>
              </a:ext>
            </a:extLst>
          </p:cNvPr>
          <p:cNvSpPr/>
          <p:nvPr/>
        </p:nvSpPr>
        <p:spPr>
          <a:xfrm>
            <a:off x="3406456" y="3203950"/>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8" name="Oval 127">
            <a:extLst>
              <a:ext uri="{FF2B5EF4-FFF2-40B4-BE49-F238E27FC236}">
                <a16:creationId xmlns:a16="http://schemas.microsoft.com/office/drawing/2014/main" id="{8D9FCA63-2306-4637-A5E8-7D4217718489}"/>
              </a:ext>
            </a:extLst>
          </p:cNvPr>
          <p:cNvSpPr/>
          <p:nvPr/>
        </p:nvSpPr>
        <p:spPr>
          <a:xfrm>
            <a:off x="1782046" y="320069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129" name="Straight Connector 128">
            <a:extLst>
              <a:ext uri="{FF2B5EF4-FFF2-40B4-BE49-F238E27FC236}">
                <a16:creationId xmlns:a16="http://schemas.microsoft.com/office/drawing/2014/main" id="{AFA73E03-443B-461C-9E6E-C15745CB4411}"/>
              </a:ext>
            </a:extLst>
          </p:cNvPr>
          <p:cNvCxnSpPr>
            <a:cxnSpLocks/>
          </p:cNvCxnSpPr>
          <p:nvPr/>
        </p:nvCxnSpPr>
        <p:spPr>
          <a:xfrm>
            <a:off x="2710697" y="3017464"/>
            <a:ext cx="0" cy="315503"/>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AC68ED0-A10B-4E1E-94E7-1A0F2DE415B2}"/>
              </a:ext>
            </a:extLst>
          </p:cNvPr>
          <p:cNvSpPr txBox="1"/>
          <p:nvPr/>
        </p:nvSpPr>
        <p:spPr>
          <a:xfrm>
            <a:off x="1822685" y="330399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131" name="TextBox 130">
            <a:extLst>
              <a:ext uri="{FF2B5EF4-FFF2-40B4-BE49-F238E27FC236}">
                <a16:creationId xmlns:a16="http://schemas.microsoft.com/office/drawing/2014/main" id="{47EF5ED5-8802-4DD6-928D-9545D4046563}"/>
              </a:ext>
            </a:extLst>
          </p:cNvPr>
          <p:cNvSpPr txBox="1"/>
          <p:nvPr/>
        </p:nvSpPr>
        <p:spPr>
          <a:xfrm>
            <a:off x="3457256" y="3279927"/>
            <a:ext cx="238760" cy="146194"/>
          </a:xfrm>
          <a:prstGeom prst="rect">
            <a:avLst/>
          </a:prstGeom>
          <a:noFill/>
        </p:spPr>
        <p:txBody>
          <a:bodyPr wrap="square" lIns="0" tIns="0" rIns="0" bIns="0" rtlCol="0">
            <a:spAutoFit/>
          </a:bodyPr>
          <a:lstStyle/>
          <a:p>
            <a:pPr algn="ctr"/>
            <a:r>
              <a:rPr lang="nl-NL" sz="1000" b="1" dirty="0"/>
              <a:t>Nee</a:t>
            </a:r>
          </a:p>
        </p:txBody>
      </p:sp>
      <p:cxnSp>
        <p:nvCxnSpPr>
          <p:cNvPr id="139" name="Straight Connector 138">
            <a:extLst>
              <a:ext uri="{FF2B5EF4-FFF2-40B4-BE49-F238E27FC236}">
                <a16:creationId xmlns:a16="http://schemas.microsoft.com/office/drawing/2014/main" id="{0CAB89A0-F10C-4137-946E-D5384CA9F81C}"/>
              </a:ext>
            </a:extLst>
          </p:cNvPr>
          <p:cNvCxnSpPr>
            <a:cxnSpLocks/>
          </p:cNvCxnSpPr>
          <p:nvPr/>
        </p:nvCxnSpPr>
        <p:spPr>
          <a:xfrm>
            <a:off x="4165440" y="3345747"/>
            <a:ext cx="0" cy="249166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AAF164F-4380-4357-AFD6-527FDEF78A25}"/>
              </a:ext>
            </a:extLst>
          </p:cNvPr>
          <p:cNvCxnSpPr>
            <a:cxnSpLocks/>
          </p:cNvCxnSpPr>
          <p:nvPr/>
        </p:nvCxnSpPr>
        <p:spPr>
          <a:xfrm>
            <a:off x="1281826" y="3332967"/>
            <a:ext cx="0" cy="2753837"/>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2123B680-F3A0-4A7B-B1EA-D77822697EA2}"/>
              </a:ext>
            </a:extLst>
          </p:cNvPr>
          <p:cNvSpPr/>
          <p:nvPr/>
        </p:nvSpPr>
        <p:spPr>
          <a:xfrm>
            <a:off x="700596" y="5828503"/>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3" name="TextBox 142">
            <a:extLst>
              <a:ext uri="{FF2B5EF4-FFF2-40B4-BE49-F238E27FC236}">
                <a16:creationId xmlns:a16="http://schemas.microsoft.com/office/drawing/2014/main" id="{6A3D137E-0FA2-498B-80D1-3A9B84EC13EB}"/>
              </a:ext>
            </a:extLst>
          </p:cNvPr>
          <p:cNvSpPr txBox="1"/>
          <p:nvPr/>
        </p:nvSpPr>
        <p:spPr>
          <a:xfrm>
            <a:off x="803303" y="5891796"/>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45" name="TextBox 144">
            <a:extLst>
              <a:ext uri="{FF2B5EF4-FFF2-40B4-BE49-F238E27FC236}">
                <a16:creationId xmlns:a16="http://schemas.microsoft.com/office/drawing/2014/main" id="{1DEBE77C-D20E-4E17-821E-E37406F92D45}"/>
              </a:ext>
            </a:extLst>
          </p:cNvPr>
          <p:cNvSpPr txBox="1"/>
          <p:nvPr/>
        </p:nvSpPr>
        <p:spPr>
          <a:xfrm>
            <a:off x="305318" y="2432689"/>
            <a:ext cx="1509486" cy="584775"/>
          </a:xfrm>
          <a:prstGeom prst="rect">
            <a:avLst/>
          </a:prstGeom>
          <a:noFill/>
        </p:spPr>
        <p:txBody>
          <a:bodyPr wrap="square" lIns="0" tIns="0" rIns="0" bIns="0" rtlCol="0">
            <a:spAutoFit/>
          </a:bodyPr>
          <a:lstStyle/>
          <a:p>
            <a:pPr algn="l"/>
            <a:r>
              <a:rPr lang="nl-NL" sz="1000" b="1" dirty="0"/>
              <a:t>- Bijvoorbeeld ongewenste  associatie met een commercieel product</a:t>
            </a:r>
          </a:p>
        </p:txBody>
      </p:sp>
      <p:sp>
        <p:nvSpPr>
          <p:cNvPr id="147" name="Title 4">
            <a:extLst>
              <a:ext uri="{FF2B5EF4-FFF2-40B4-BE49-F238E27FC236}">
                <a16:creationId xmlns:a16="http://schemas.microsoft.com/office/drawing/2014/main" id="{DFB8379B-C52C-44B1-9975-E4C1FA19CCDF}"/>
              </a:ext>
            </a:extLst>
          </p:cNvPr>
          <p:cNvSpPr txBox="1">
            <a:spLocks/>
          </p:cNvSpPr>
          <p:nvPr/>
        </p:nvSpPr>
        <p:spPr>
          <a:xfrm>
            <a:off x="576262" y="295270"/>
            <a:ext cx="10752137" cy="720000"/>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a:lstStyle>
          <a:p>
            <a:pPr>
              <a:buFontTx/>
            </a:pPr>
            <a:r>
              <a:rPr lang="en-GB" altLang="en-US" dirty="0" err="1"/>
              <a:t>Stroomschema</a:t>
            </a:r>
            <a:r>
              <a:rPr lang="en-GB" altLang="en-US" dirty="0"/>
              <a:t> (Dommering (1))</a:t>
            </a:r>
            <a:endParaRPr lang="en-GB" dirty="0"/>
          </a:p>
        </p:txBody>
      </p:sp>
      <p:cxnSp>
        <p:nvCxnSpPr>
          <p:cNvPr id="155" name="Straight Connector 154">
            <a:extLst>
              <a:ext uri="{FF2B5EF4-FFF2-40B4-BE49-F238E27FC236}">
                <a16:creationId xmlns:a16="http://schemas.microsoft.com/office/drawing/2014/main" id="{03B7BE4A-CF65-4512-A89A-948616AED39F}"/>
              </a:ext>
            </a:extLst>
          </p:cNvPr>
          <p:cNvCxnSpPr>
            <a:cxnSpLocks/>
          </p:cNvCxnSpPr>
          <p:nvPr/>
        </p:nvCxnSpPr>
        <p:spPr>
          <a:xfrm>
            <a:off x="4165440" y="1855829"/>
            <a:ext cx="0" cy="30113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0B4CD8B-F415-4A5D-AE6D-3787E6038458}"/>
              </a:ext>
            </a:extLst>
          </p:cNvPr>
          <p:cNvCxnSpPr>
            <a:cxnSpLocks/>
          </p:cNvCxnSpPr>
          <p:nvPr/>
        </p:nvCxnSpPr>
        <p:spPr>
          <a:xfrm flipH="1">
            <a:off x="3562282" y="2131559"/>
            <a:ext cx="631893" cy="5591"/>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98E1487-A1C3-4BCC-8195-A5C1F2136655}"/>
              </a:ext>
            </a:extLst>
          </p:cNvPr>
          <p:cNvCxnSpPr>
            <a:cxnSpLocks/>
          </p:cNvCxnSpPr>
          <p:nvPr/>
        </p:nvCxnSpPr>
        <p:spPr>
          <a:xfrm flipH="1">
            <a:off x="2676525" y="2141084"/>
            <a:ext cx="506198"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70868ED-BC16-482B-A7F9-C0C548EF9F78}"/>
              </a:ext>
            </a:extLst>
          </p:cNvPr>
          <p:cNvCxnSpPr>
            <a:cxnSpLocks/>
          </p:cNvCxnSpPr>
          <p:nvPr/>
        </p:nvCxnSpPr>
        <p:spPr>
          <a:xfrm>
            <a:off x="2698590" y="2112408"/>
            <a:ext cx="0" cy="290554"/>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A5B47A23-BE8A-4F96-89D0-6CAC7FF93FD4}"/>
              </a:ext>
            </a:extLst>
          </p:cNvPr>
          <p:cNvCxnSpPr>
            <a:cxnSpLocks/>
          </p:cNvCxnSpPr>
          <p:nvPr/>
        </p:nvCxnSpPr>
        <p:spPr>
          <a:xfrm>
            <a:off x="2712557" y="3017464"/>
            <a:ext cx="0" cy="352799"/>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2D18A667-30A4-49C8-A1FB-8E8DBB5CF163}"/>
              </a:ext>
            </a:extLst>
          </p:cNvPr>
          <p:cNvCxnSpPr>
            <a:cxnSpLocks/>
          </p:cNvCxnSpPr>
          <p:nvPr/>
        </p:nvCxnSpPr>
        <p:spPr>
          <a:xfrm flipH="1">
            <a:off x="2139790" y="3346995"/>
            <a:ext cx="601823"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2622013-BDDC-43F7-9C74-6A32E792A4A8}"/>
              </a:ext>
            </a:extLst>
          </p:cNvPr>
          <p:cNvCxnSpPr>
            <a:cxnSpLocks/>
          </p:cNvCxnSpPr>
          <p:nvPr/>
        </p:nvCxnSpPr>
        <p:spPr>
          <a:xfrm flipH="1">
            <a:off x="1250950" y="3340954"/>
            <a:ext cx="512179"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96" name="Oval 195">
            <a:extLst>
              <a:ext uri="{FF2B5EF4-FFF2-40B4-BE49-F238E27FC236}">
                <a16:creationId xmlns:a16="http://schemas.microsoft.com/office/drawing/2014/main" id="{FF94D867-3801-4519-BB43-0933CB92CBBC}"/>
              </a:ext>
            </a:extLst>
          </p:cNvPr>
          <p:cNvSpPr/>
          <p:nvPr/>
        </p:nvSpPr>
        <p:spPr>
          <a:xfrm>
            <a:off x="8250402" y="418111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97" name="TextBox 196">
            <a:extLst>
              <a:ext uri="{FF2B5EF4-FFF2-40B4-BE49-F238E27FC236}">
                <a16:creationId xmlns:a16="http://schemas.microsoft.com/office/drawing/2014/main" id="{03B9750A-AC7F-4B72-9FFB-B8DD6690310C}"/>
              </a:ext>
            </a:extLst>
          </p:cNvPr>
          <p:cNvSpPr txBox="1"/>
          <p:nvPr/>
        </p:nvSpPr>
        <p:spPr>
          <a:xfrm>
            <a:off x="8287179" y="4261112"/>
            <a:ext cx="238760" cy="146194"/>
          </a:xfrm>
          <a:prstGeom prst="rect">
            <a:avLst/>
          </a:prstGeom>
          <a:noFill/>
        </p:spPr>
        <p:txBody>
          <a:bodyPr wrap="square" lIns="0" tIns="0" rIns="0" bIns="0" rtlCol="0">
            <a:spAutoFit/>
          </a:bodyPr>
          <a:lstStyle/>
          <a:p>
            <a:pPr algn="ctr"/>
            <a:r>
              <a:rPr lang="nl-NL" sz="1000" b="1" dirty="0"/>
              <a:t>Ja</a:t>
            </a:r>
          </a:p>
        </p:txBody>
      </p:sp>
      <p:cxnSp>
        <p:nvCxnSpPr>
          <p:cNvPr id="205" name="Straight Connector 204">
            <a:extLst>
              <a:ext uri="{FF2B5EF4-FFF2-40B4-BE49-F238E27FC236}">
                <a16:creationId xmlns:a16="http://schemas.microsoft.com/office/drawing/2014/main" id="{FDE37D43-35A9-4FB4-9AF2-686989CFE959}"/>
              </a:ext>
            </a:extLst>
          </p:cNvPr>
          <p:cNvCxnSpPr>
            <a:cxnSpLocks/>
          </p:cNvCxnSpPr>
          <p:nvPr/>
        </p:nvCxnSpPr>
        <p:spPr>
          <a:xfrm>
            <a:off x="1281826" y="3370263"/>
            <a:ext cx="0" cy="2467146"/>
          </a:xfrm>
          <a:prstGeom prst="line">
            <a:avLst/>
          </a:prstGeom>
          <a:ln w="57150">
            <a:solidFill>
              <a:srgbClr val="FFFF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5044257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4AA63B-4AAF-48AA-8C17-4BA03D4D0886}"/>
              </a:ext>
            </a:extLst>
          </p:cNvPr>
          <p:cNvSpPr/>
          <p:nvPr/>
        </p:nvSpPr>
        <p:spPr>
          <a:xfrm>
            <a:off x="3346290" y="1365654"/>
            <a:ext cx="1638300" cy="474300"/>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 name="TextBox 2">
            <a:extLst>
              <a:ext uri="{FF2B5EF4-FFF2-40B4-BE49-F238E27FC236}">
                <a16:creationId xmlns:a16="http://schemas.microsoft.com/office/drawing/2014/main" id="{4A3CC227-1600-4A4D-B38D-AF885B187B8B}"/>
              </a:ext>
            </a:extLst>
          </p:cNvPr>
          <p:cNvSpPr txBox="1"/>
          <p:nvPr/>
        </p:nvSpPr>
        <p:spPr>
          <a:xfrm>
            <a:off x="3488370" y="1456610"/>
            <a:ext cx="1400970" cy="292388"/>
          </a:xfrm>
          <a:prstGeom prst="rect">
            <a:avLst/>
          </a:prstGeom>
          <a:noFill/>
        </p:spPr>
        <p:txBody>
          <a:bodyPr wrap="square" lIns="0" tIns="0" rIns="0" bIns="0" rtlCol="0">
            <a:spAutoFit/>
          </a:bodyPr>
          <a:lstStyle/>
          <a:p>
            <a:pPr algn="l"/>
            <a:r>
              <a:rPr lang="nl-NL" sz="1000" b="1" dirty="0"/>
              <a:t>Gaat het alleen om een commercieel belang?</a:t>
            </a:r>
          </a:p>
        </p:txBody>
      </p:sp>
      <p:cxnSp>
        <p:nvCxnSpPr>
          <p:cNvPr id="6" name="Straight Connector 5">
            <a:extLst>
              <a:ext uri="{FF2B5EF4-FFF2-40B4-BE49-F238E27FC236}">
                <a16:creationId xmlns:a16="http://schemas.microsoft.com/office/drawing/2014/main" id="{777B5499-AE93-4CF8-864F-16186E946876}"/>
              </a:ext>
            </a:extLst>
          </p:cNvPr>
          <p:cNvCxnSpPr>
            <a:cxnSpLocks/>
            <a:stCxn id="2" idx="2"/>
          </p:cNvCxnSpPr>
          <p:nvPr/>
        </p:nvCxnSpPr>
        <p:spPr>
          <a:xfrm>
            <a:off x="4165440" y="183995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BD4FF6-054D-4DC2-B376-E9B528BA2B56}"/>
              </a:ext>
            </a:extLst>
          </p:cNvPr>
          <p:cNvCxnSpPr>
            <a:cxnSpLocks/>
          </p:cNvCxnSpPr>
          <p:nvPr/>
        </p:nvCxnSpPr>
        <p:spPr>
          <a:xfrm>
            <a:off x="2698590" y="214108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8BCA8E74-B98D-4335-B4E3-F2E1DA78D539}"/>
              </a:ext>
            </a:extLst>
          </p:cNvPr>
          <p:cNvSpPr/>
          <p:nvPr/>
        </p:nvSpPr>
        <p:spPr>
          <a:xfrm>
            <a:off x="4814410" y="197144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 name="TextBox 13">
            <a:extLst>
              <a:ext uri="{FF2B5EF4-FFF2-40B4-BE49-F238E27FC236}">
                <a16:creationId xmlns:a16="http://schemas.microsoft.com/office/drawing/2014/main" id="{6BF29656-0740-4487-BA72-6E989BD28750}"/>
              </a:ext>
            </a:extLst>
          </p:cNvPr>
          <p:cNvSpPr txBox="1"/>
          <p:nvPr/>
        </p:nvSpPr>
        <p:spPr>
          <a:xfrm>
            <a:off x="4865210" y="2058462"/>
            <a:ext cx="238760" cy="146194"/>
          </a:xfrm>
          <a:prstGeom prst="rect">
            <a:avLst/>
          </a:prstGeom>
          <a:noFill/>
        </p:spPr>
        <p:txBody>
          <a:bodyPr wrap="square" lIns="0" tIns="0" rIns="0" bIns="0" rtlCol="0">
            <a:spAutoFit/>
          </a:bodyPr>
          <a:lstStyle/>
          <a:p>
            <a:pPr algn="ctr"/>
            <a:r>
              <a:rPr lang="nl-NL" sz="1000" b="1" dirty="0"/>
              <a:t>Ja</a:t>
            </a:r>
          </a:p>
        </p:txBody>
      </p:sp>
      <p:sp>
        <p:nvSpPr>
          <p:cNvPr id="22" name="Oval 21">
            <a:extLst>
              <a:ext uri="{FF2B5EF4-FFF2-40B4-BE49-F238E27FC236}">
                <a16:creationId xmlns:a16="http://schemas.microsoft.com/office/drawing/2014/main" id="{2C1E1805-B2C1-4A64-8081-8972806C35CB}"/>
              </a:ext>
            </a:extLst>
          </p:cNvPr>
          <p:cNvSpPr/>
          <p:nvPr/>
        </p:nvSpPr>
        <p:spPr>
          <a:xfrm>
            <a:off x="3198810" y="198096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23" name="TextBox 22">
            <a:extLst>
              <a:ext uri="{FF2B5EF4-FFF2-40B4-BE49-F238E27FC236}">
                <a16:creationId xmlns:a16="http://schemas.microsoft.com/office/drawing/2014/main" id="{F562E431-4B71-4326-93B1-9AF277E918EC}"/>
              </a:ext>
            </a:extLst>
          </p:cNvPr>
          <p:cNvSpPr txBox="1"/>
          <p:nvPr/>
        </p:nvSpPr>
        <p:spPr>
          <a:xfrm>
            <a:off x="3249610" y="2067987"/>
            <a:ext cx="238760" cy="146194"/>
          </a:xfrm>
          <a:prstGeom prst="rect">
            <a:avLst/>
          </a:prstGeom>
          <a:noFill/>
        </p:spPr>
        <p:txBody>
          <a:bodyPr wrap="square" lIns="0" tIns="0" rIns="0" bIns="0" rtlCol="0">
            <a:spAutoFit/>
          </a:bodyPr>
          <a:lstStyle/>
          <a:p>
            <a:pPr algn="ctr"/>
            <a:r>
              <a:rPr lang="nl-NL" sz="1000" b="1" dirty="0"/>
              <a:t>Nee</a:t>
            </a:r>
          </a:p>
        </p:txBody>
      </p:sp>
      <p:cxnSp>
        <p:nvCxnSpPr>
          <p:cNvPr id="27" name="Straight Connector 26">
            <a:extLst>
              <a:ext uri="{FF2B5EF4-FFF2-40B4-BE49-F238E27FC236}">
                <a16:creationId xmlns:a16="http://schemas.microsoft.com/office/drawing/2014/main" id="{BAEA7DC0-1330-4960-8A0D-06F3A358C131}"/>
              </a:ext>
            </a:extLst>
          </p:cNvPr>
          <p:cNvCxnSpPr>
            <a:cxnSpLocks/>
          </p:cNvCxnSpPr>
          <p:nvPr/>
        </p:nvCxnSpPr>
        <p:spPr>
          <a:xfrm>
            <a:off x="2698590" y="2141084"/>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A782F92-166B-4062-B59B-A62E17D222E8}"/>
              </a:ext>
            </a:extLst>
          </p:cNvPr>
          <p:cNvCxnSpPr>
            <a:cxnSpLocks/>
          </p:cNvCxnSpPr>
          <p:nvPr/>
        </p:nvCxnSpPr>
        <p:spPr>
          <a:xfrm>
            <a:off x="5683090" y="2131559"/>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640DC87-CC51-4A0E-AA1D-50AE925A217F}"/>
              </a:ext>
            </a:extLst>
          </p:cNvPr>
          <p:cNvSpPr/>
          <p:nvPr/>
        </p:nvSpPr>
        <p:spPr>
          <a:xfrm>
            <a:off x="5205728" y="2420792"/>
            <a:ext cx="1638300" cy="5473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0" name="TextBox 29">
            <a:extLst>
              <a:ext uri="{FF2B5EF4-FFF2-40B4-BE49-F238E27FC236}">
                <a16:creationId xmlns:a16="http://schemas.microsoft.com/office/drawing/2014/main" id="{C0475137-86B3-4917-B9C0-AB227344EA19}"/>
              </a:ext>
            </a:extLst>
          </p:cNvPr>
          <p:cNvSpPr txBox="1"/>
          <p:nvPr/>
        </p:nvSpPr>
        <p:spPr>
          <a:xfrm>
            <a:off x="5263989" y="2484915"/>
            <a:ext cx="1580039" cy="438582"/>
          </a:xfrm>
          <a:prstGeom prst="rect">
            <a:avLst/>
          </a:prstGeom>
          <a:noFill/>
        </p:spPr>
        <p:txBody>
          <a:bodyPr wrap="square" lIns="0" tIns="0" rIns="0" bIns="0" rtlCol="0">
            <a:spAutoFit/>
          </a:bodyPr>
          <a:lstStyle/>
          <a:p>
            <a:pPr algn="l"/>
            <a:r>
              <a:rPr lang="nl-NL" sz="1000" b="1" dirty="0"/>
              <a:t>Zijn er omstandigheden, die rechtvaardigen daaraan voorbij te gaan?</a:t>
            </a:r>
          </a:p>
        </p:txBody>
      </p:sp>
      <p:cxnSp>
        <p:nvCxnSpPr>
          <p:cNvPr id="31" name="Straight Connector 30">
            <a:extLst>
              <a:ext uri="{FF2B5EF4-FFF2-40B4-BE49-F238E27FC236}">
                <a16:creationId xmlns:a16="http://schemas.microsoft.com/office/drawing/2014/main" id="{7B8E2A95-4E98-4063-B191-C684EE98C8B4}"/>
              </a:ext>
            </a:extLst>
          </p:cNvPr>
          <p:cNvCxnSpPr>
            <a:cxnSpLocks/>
          </p:cNvCxnSpPr>
          <p:nvPr/>
        </p:nvCxnSpPr>
        <p:spPr>
          <a:xfrm>
            <a:off x="4603750" y="3285355"/>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F24F7763-629E-4BA0-84C7-7ADFF6C7F211}"/>
              </a:ext>
            </a:extLst>
          </p:cNvPr>
          <p:cNvSpPr/>
          <p:nvPr/>
        </p:nvSpPr>
        <p:spPr>
          <a:xfrm>
            <a:off x="6711450" y="3118783"/>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34" name="Oval 33">
            <a:extLst>
              <a:ext uri="{FF2B5EF4-FFF2-40B4-BE49-F238E27FC236}">
                <a16:creationId xmlns:a16="http://schemas.microsoft.com/office/drawing/2014/main" id="{7CAA5729-16F8-4013-B47F-C7CD3547C566}"/>
              </a:ext>
            </a:extLst>
          </p:cNvPr>
          <p:cNvSpPr/>
          <p:nvPr/>
        </p:nvSpPr>
        <p:spPr>
          <a:xfrm>
            <a:off x="5103970" y="314029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36" name="Straight Connector 35">
            <a:extLst>
              <a:ext uri="{FF2B5EF4-FFF2-40B4-BE49-F238E27FC236}">
                <a16:creationId xmlns:a16="http://schemas.microsoft.com/office/drawing/2014/main" id="{87CA7E61-3F33-4EB6-960C-4CE280A5ABB6}"/>
              </a:ext>
            </a:extLst>
          </p:cNvPr>
          <p:cNvCxnSpPr>
            <a:cxnSpLocks/>
          </p:cNvCxnSpPr>
          <p:nvPr/>
        </p:nvCxnSpPr>
        <p:spPr>
          <a:xfrm>
            <a:off x="4603750" y="3285355"/>
            <a:ext cx="0" cy="279757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9A3D5EF-43CB-451B-B568-B53480E1D47D}"/>
              </a:ext>
            </a:extLst>
          </p:cNvPr>
          <p:cNvCxnSpPr>
            <a:cxnSpLocks/>
          </p:cNvCxnSpPr>
          <p:nvPr/>
        </p:nvCxnSpPr>
        <p:spPr>
          <a:xfrm>
            <a:off x="7588250" y="327583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D8AC045-C7DE-4588-A7E4-7598C7B20471}"/>
              </a:ext>
            </a:extLst>
          </p:cNvPr>
          <p:cNvCxnSpPr>
            <a:cxnSpLocks/>
          </p:cNvCxnSpPr>
          <p:nvPr/>
        </p:nvCxnSpPr>
        <p:spPr>
          <a:xfrm>
            <a:off x="6013290" y="2980970"/>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C46457EA-0AC8-4B53-B7D9-BB4DB0EA5BFC}"/>
              </a:ext>
            </a:extLst>
          </p:cNvPr>
          <p:cNvSpPr/>
          <p:nvPr/>
        </p:nvSpPr>
        <p:spPr>
          <a:xfrm>
            <a:off x="6782348" y="3582689"/>
            <a:ext cx="1638300" cy="443824"/>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48" name="TextBox 47">
            <a:extLst>
              <a:ext uri="{FF2B5EF4-FFF2-40B4-BE49-F238E27FC236}">
                <a16:creationId xmlns:a16="http://schemas.microsoft.com/office/drawing/2014/main" id="{4909BCBC-3AEB-405C-B0AE-DCC96A0DCED5}"/>
              </a:ext>
            </a:extLst>
          </p:cNvPr>
          <p:cNvSpPr txBox="1"/>
          <p:nvPr/>
        </p:nvSpPr>
        <p:spPr>
          <a:xfrm>
            <a:off x="6840609" y="3646812"/>
            <a:ext cx="1580039" cy="292388"/>
          </a:xfrm>
          <a:prstGeom prst="rect">
            <a:avLst/>
          </a:prstGeom>
          <a:noFill/>
        </p:spPr>
        <p:txBody>
          <a:bodyPr wrap="square" lIns="0" tIns="0" rIns="0" bIns="0" rtlCol="0">
            <a:spAutoFit/>
          </a:bodyPr>
          <a:lstStyle/>
          <a:p>
            <a:pPr algn="l"/>
            <a:r>
              <a:rPr lang="nl-NL" sz="1000" b="1" dirty="0"/>
              <a:t>Is er een redelijke vergoeding aangeboden?</a:t>
            </a:r>
          </a:p>
        </p:txBody>
      </p:sp>
      <p:cxnSp>
        <p:nvCxnSpPr>
          <p:cNvPr id="52" name="Straight Connector 51">
            <a:extLst>
              <a:ext uri="{FF2B5EF4-FFF2-40B4-BE49-F238E27FC236}">
                <a16:creationId xmlns:a16="http://schemas.microsoft.com/office/drawing/2014/main" id="{9E53E2B1-38C6-4933-88F0-A94EAD24EAC7}"/>
              </a:ext>
            </a:extLst>
          </p:cNvPr>
          <p:cNvCxnSpPr>
            <a:cxnSpLocks/>
          </p:cNvCxnSpPr>
          <p:nvPr/>
        </p:nvCxnSpPr>
        <p:spPr>
          <a:xfrm>
            <a:off x="7610867" y="4037233"/>
            <a:ext cx="1011" cy="3088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9968F71-9C41-43FD-B0B5-FC38E4580903}"/>
              </a:ext>
            </a:extLst>
          </p:cNvPr>
          <p:cNvCxnSpPr>
            <a:cxnSpLocks/>
          </p:cNvCxnSpPr>
          <p:nvPr/>
        </p:nvCxnSpPr>
        <p:spPr>
          <a:xfrm>
            <a:off x="6106481" y="4345791"/>
            <a:ext cx="3003777" cy="952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16D10688-034F-4D36-8F4B-546B50EB2B89}"/>
              </a:ext>
            </a:extLst>
          </p:cNvPr>
          <p:cNvSpPr/>
          <p:nvPr/>
        </p:nvSpPr>
        <p:spPr>
          <a:xfrm>
            <a:off x="6625978" y="4195198"/>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57" name="TextBox 56">
            <a:extLst>
              <a:ext uri="{FF2B5EF4-FFF2-40B4-BE49-F238E27FC236}">
                <a16:creationId xmlns:a16="http://schemas.microsoft.com/office/drawing/2014/main" id="{D51D173E-97B3-4876-A8C8-E38877D92E8B}"/>
              </a:ext>
            </a:extLst>
          </p:cNvPr>
          <p:cNvSpPr txBox="1"/>
          <p:nvPr/>
        </p:nvSpPr>
        <p:spPr>
          <a:xfrm>
            <a:off x="6676778" y="4282219"/>
            <a:ext cx="238760" cy="146194"/>
          </a:xfrm>
          <a:prstGeom prst="rect">
            <a:avLst/>
          </a:prstGeom>
          <a:noFill/>
        </p:spPr>
        <p:txBody>
          <a:bodyPr wrap="square" lIns="0" tIns="0" rIns="0" bIns="0" rtlCol="0">
            <a:spAutoFit/>
          </a:bodyPr>
          <a:lstStyle/>
          <a:p>
            <a:pPr algn="ctr"/>
            <a:r>
              <a:rPr lang="nl-NL" sz="1000" b="1" dirty="0"/>
              <a:t>Nee</a:t>
            </a:r>
          </a:p>
        </p:txBody>
      </p:sp>
      <p:cxnSp>
        <p:nvCxnSpPr>
          <p:cNvPr id="58" name="Straight Connector 57">
            <a:extLst>
              <a:ext uri="{FF2B5EF4-FFF2-40B4-BE49-F238E27FC236}">
                <a16:creationId xmlns:a16="http://schemas.microsoft.com/office/drawing/2014/main" id="{CDA9C1FF-36D9-4166-88DA-331CA02D1C71}"/>
              </a:ext>
            </a:extLst>
          </p:cNvPr>
          <p:cNvCxnSpPr>
            <a:cxnSpLocks/>
          </p:cNvCxnSpPr>
          <p:nvPr/>
        </p:nvCxnSpPr>
        <p:spPr>
          <a:xfrm>
            <a:off x="6106481" y="4345791"/>
            <a:ext cx="0" cy="173713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213441D-DC04-4B32-9BCF-EA973FC849BB}"/>
              </a:ext>
            </a:extLst>
          </p:cNvPr>
          <p:cNvCxnSpPr>
            <a:cxnSpLocks/>
          </p:cNvCxnSpPr>
          <p:nvPr/>
        </p:nvCxnSpPr>
        <p:spPr>
          <a:xfrm>
            <a:off x="9110258" y="4345791"/>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BB545E02-BCF2-4EC2-BBD5-98D3F32104CA}"/>
              </a:ext>
            </a:extLst>
          </p:cNvPr>
          <p:cNvSpPr/>
          <p:nvPr/>
        </p:nvSpPr>
        <p:spPr>
          <a:xfrm>
            <a:off x="8244360" y="4646093"/>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1" name="TextBox 60">
            <a:extLst>
              <a:ext uri="{FF2B5EF4-FFF2-40B4-BE49-F238E27FC236}">
                <a16:creationId xmlns:a16="http://schemas.microsoft.com/office/drawing/2014/main" id="{659B583B-09BC-4D14-9579-97F609300A5C}"/>
              </a:ext>
            </a:extLst>
          </p:cNvPr>
          <p:cNvSpPr txBox="1"/>
          <p:nvPr/>
        </p:nvSpPr>
        <p:spPr>
          <a:xfrm>
            <a:off x="8301385" y="4701787"/>
            <a:ext cx="1727519" cy="438582"/>
          </a:xfrm>
          <a:prstGeom prst="rect">
            <a:avLst/>
          </a:prstGeom>
          <a:noFill/>
        </p:spPr>
        <p:txBody>
          <a:bodyPr wrap="square" lIns="0" tIns="0" rIns="0" bIns="0" rtlCol="0">
            <a:spAutoFit/>
          </a:bodyPr>
          <a:lstStyle/>
          <a:p>
            <a:pPr algn="l"/>
            <a:r>
              <a:rPr lang="nl-NL" sz="1000" b="1" dirty="0"/>
              <a:t>Is er sprake van bijkomende omstandigheden, die zwaarder wegen?</a:t>
            </a:r>
          </a:p>
        </p:txBody>
      </p:sp>
      <p:cxnSp>
        <p:nvCxnSpPr>
          <p:cNvPr id="62" name="Straight Connector 61">
            <a:extLst>
              <a:ext uri="{FF2B5EF4-FFF2-40B4-BE49-F238E27FC236}">
                <a16:creationId xmlns:a16="http://schemas.microsoft.com/office/drawing/2014/main" id="{EDAF109D-26E9-45E1-8D17-2A9423007A9A}"/>
              </a:ext>
            </a:extLst>
          </p:cNvPr>
          <p:cNvCxnSpPr>
            <a:cxnSpLocks/>
          </p:cNvCxnSpPr>
          <p:nvPr/>
        </p:nvCxnSpPr>
        <p:spPr>
          <a:xfrm>
            <a:off x="9114958" y="5246605"/>
            <a:ext cx="0" cy="291605"/>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4CEFBA0-B0ED-452C-A609-30B25281605A}"/>
              </a:ext>
            </a:extLst>
          </p:cNvPr>
          <p:cNvCxnSpPr>
            <a:cxnSpLocks/>
          </p:cNvCxnSpPr>
          <p:nvPr/>
        </p:nvCxnSpPr>
        <p:spPr>
          <a:xfrm>
            <a:off x="7716826" y="5552524"/>
            <a:ext cx="29845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7D0992D6-462A-4474-A14F-0FBAE2C87A75}"/>
              </a:ext>
            </a:extLst>
          </p:cNvPr>
          <p:cNvSpPr/>
          <p:nvPr/>
        </p:nvSpPr>
        <p:spPr>
          <a:xfrm>
            <a:off x="9832646" y="538288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5" name="TextBox 64">
            <a:extLst>
              <a:ext uri="{FF2B5EF4-FFF2-40B4-BE49-F238E27FC236}">
                <a16:creationId xmlns:a16="http://schemas.microsoft.com/office/drawing/2014/main" id="{DCB6607F-A6C4-4385-9E9D-45333D3A096A}"/>
              </a:ext>
            </a:extLst>
          </p:cNvPr>
          <p:cNvSpPr txBox="1"/>
          <p:nvPr/>
        </p:nvSpPr>
        <p:spPr>
          <a:xfrm>
            <a:off x="9883446" y="546990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66" name="Oval 65">
            <a:extLst>
              <a:ext uri="{FF2B5EF4-FFF2-40B4-BE49-F238E27FC236}">
                <a16:creationId xmlns:a16="http://schemas.microsoft.com/office/drawing/2014/main" id="{856D15A6-66C5-45CD-83FA-64B16EB1ECCC}"/>
              </a:ext>
            </a:extLst>
          </p:cNvPr>
          <p:cNvSpPr/>
          <p:nvPr/>
        </p:nvSpPr>
        <p:spPr>
          <a:xfrm>
            <a:off x="8217046" y="5392406"/>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67" name="TextBox 66">
            <a:extLst>
              <a:ext uri="{FF2B5EF4-FFF2-40B4-BE49-F238E27FC236}">
                <a16:creationId xmlns:a16="http://schemas.microsoft.com/office/drawing/2014/main" id="{DF68BA85-9274-4715-92A3-96CA0BE6FCFD}"/>
              </a:ext>
            </a:extLst>
          </p:cNvPr>
          <p:cNvSpPr txBox="1"/>
          <p:nvPr/>
        </p:nvSpPr>
        <p:spPr>
          <a:xfrm>
            <a:off x="8267846" y="5479427"/>
            <a:ext cx="238760" cy="146194"/>
          </a:xfrm>
          <a:prstGeom prst="rect">
            <a:avLst/>
          </a:prstGeom>
          <a:noFill/>
        </p:spPr>
        <p:txBody>
          <a:bodyPr wrap="square" lIns="0" tIns="0" rIns="0" bIns="0" rtlCol="0">
            <a:spAutoFit/>
          </a:bodyPr>
          <a:lstStyle/>
          <a:p>
            <a:pPr algn="ctr"/>
            <a:r>
              <a:rPr lang="nl-NL" sz="1000" b="1" dirty="0"/>
              <a:t>Nee</a:t>
            </a:r>
          </a:p>
        </p:txBody>
      </p:sp>
      <p:cxnSp>
        <p:nvCxnSpPr>
          <p:cNvPr id="68" name="Straight Connector 67">
            <a:extLst>
              <a:ext uri="{FF2B5EF4-FFF2-40B4-BE49-F238E27FC236}">
                <a16:creationId xmlns:a16="http://schemas.microsoft.com/office/drawing/2014/main" id="{C049A8CB-01C0-4441-B1CD-012C77785216}"/>
              </a:ext>
            </a:extLst>
          </p:cNvPr>
          <p:cNvCxnSpPr>
            <a:cxnSpLocks/>
          </p:cNvCxnSpPr>
          <p:nvPr/>
        </p:nvCxnSpPr>
        <p:spPr>
          <a:xfrm>
            <a:off x="7716826" y="5550747"/>
            <a:ext cx="0" cy="541089"/>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99C16183-5358-4CAB-A9D2-E7CBDA05A482}"/>
              </a:ext>
            </a:extLst>
          </p:cNvPr>
          <p:cNvSpPr txBox="1"/>
          <p:nvPr/>
        </p:nvSpPr>
        <p:spPr>
          <a:xfrm>
            <a:off x="5144609" y="3243600"/>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71" name="TextBox 70">
            <a:extLst>
              <a:ext uri="{FF2B5EF4-FFF2-40B4-BE49-F238E27FC236}">
                <a16:creationId xmlns:a16="http://schemas.microsoft.com/office/drawing/2014/main" id="{CECE2BE7-83E9-4AC5-A603-173BD6215BEB}"/>
              </a:ext>
            </a:extLst>
          </p:cNvPr>
          <p:cNvSpPr txBox="1"/>
          <p:nvPr/>
        </p:nvSpPr>
        <p:spPr>
          <a:xfrm>
            <a:off x="6762250" y="3194760"/>
            <a:ext cx="238760" cy="146194"/>
          </a:xfrm>
          <a:prstGeom prst="rect">
            <a:avLst/>
          </a:prstGeom>
          <a:noFill/>
        </p:spPr>
        <p:txBody>
          <a:bodyPr wrap="square" lIns="0" tIns="0" rIns="0" bIns="0" rtlCol="0">
            <a:spAutoFit/>
          </a:bodyPr>
          <a:lstStyle/>
          <a:p>
            <a:pPr algn="ctr"/>
            <a:r>
              <a:rPr lang="nl-NL" sz="1000" b="1" dirty="0"/>
              <a:t>Nee</a:t>
            </a:r>
          </a:p>
        </p:txBody>
      </p:sp>
      <p:sp>
        <p:nvSpPr>
          <p:cNvPr id="75" name="TextBox 74">
            <a:extLst>
              <a:ext uri="{FF2B5EF4-FFF2-40B4-BE49-F238E27FC236}">
                <a16:creationId xmlns:a16="http://schemas.microsoft.com/office/drawing/2014/main" id="{88A9D700-3A8D-4CA3-AA7F-E87251976D43}"/>
              </a:ext>
            </a:extLst>
          </p:cNvPr>
          <p:cNvSpPr txBox="1"/>
          <p:nvPr/>
        </p:nvSpPr>
        <p:spPr>
          <a:xfrm>
            <a:off x="7002607" y="2457987"/>
            <a:ext cx="2384827" cy="292388"/>
          </a:xfrm>
          <a:prstGeom prst="rect">
            <a:avLst/>
          </a:prstGeom>
          <a:noFill/>
        </p:spPr>
        <p:txBody>
          <a:bodyPr wrap="square" lIns="0" tIns="0" rIns="0" bIns="0" rtlCol="0">
            <a:spAutoFit/>
          </a:bodyPr>
          <a:lstStyle/>
          <a:p>
            <a:pPr algn="l"/>
            <a:r>
              <a:rPr lang="nl-NL" sz="1000" b="1" dirty="0"/>
              <a:t>- Bijvoorbeeld de grote informatieve waarde van de publicatie</a:t>
            </a:r>
          </a:p>
        </p:txBody>
      </p:sp>
      <p:sp>
        <p:nvSpPr>
          <p:cNvPr id="78" name="TextBox 77">
            <a:extLst>
              <a:ext uri="{FF2B5EF4-FFF2-40B4-BE49-F238E27FC236}">
                <a16:creationId xmlns:a16="http://schemas.microsoft.com/office/drawing/2014/main" id="{9F933D8F-59AF-4C1C-A767-2A59455D5382}"/>
              </a:ext>
            </a:extLst>
          </p:cNvPr>
          <p:cNvSpPr txBox="1"/>
          <p:nvPr/>
        </p:nvSpPr>
        <p:spPr>
          <a:xfrm>
            <a:off x="10177377" y="4704117"/>
            <a:ext cx="1489028" cy="584775"/>
          </a:xfrm>
          <a:prstGeom prst="rect">
            <a:avLst/>
          </a:prstGeom>
          <a:noFill/>
        </p:spPr>
        <p:txBody>
          <a:bodyPr wrap="square" lIns="0" tIns="0" rIns="0" bIns="0" rtlCol="0">
            <a:spAutoFit/>
          </a:bodyPr>
          <a:lstStyle/>
          <a:p>
            <a:pPr algn="l"/>
            <a:r>
              <a:rPr lang="nl-NL" sz="1000" b="1" dirty="0"/>
              <a:t>- Bijvoorbeeld de publicatie is schadelijk voor de wijze van exploitatie</a:t>
            </a:r>
          </a:p>
        </p:txBody>
      </p:sp>
      <p:cxnSp>
        <p:nvCxnSpPr>
          <p:cNvPr id="88" name="Straight Connector 87">
            <a:extLst>
              <a:ext uri="{FF2B5EF4-FFF2-40B4-BE49-F238E27FC236}">
                <a16:creationId xmlns:a16="http://schemas.microsoft.com/office/drawing/2014/main" id="{9442AA6A-6C6F-4896-A7E3-CEDC647722F7}"/>
              </a:ext>
            </a:extLst>
          </p:cNvPr>
          <p:cNvCxnSpPr>
            <a:cxnSpLocks/>
          </p:cNvCxnSpPr>
          <p:nvPr/>
        </p:nvCxnSpPr>
        <p:spPr>
          <a:xfrm>
            <a:off x="10701326" y="5552524"/>
            <a:ext cx="0" cy="53040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4E50DD30-37F1-4477-9100-943D3E575285}"/>
              </a:ext>
            </a:extLst>
          </p:cNvPr>
          <p:cNvSpPr/>
          <p:nvPr/>
        </p:nvSpPr>
        <p:spPr>
          <a:xfrm>
            <a:off x="9910976" y="5845157"/>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2" name="TextBox 91">
            <a:extLst>
              <a:ext uri="{FF2B5EF4-FFF2-40B4-BE49-F238E27FC236}">
                <a16:creationId xmlns:a16="http://schemas.microsoft.com/office/drawing/2014/main" id="{0C7EEA12-6367-43CC-B3CD-47EF404540A5}"/>
              </a:ext>
            </a:extLst>
          </p:cNvPr>
          <p:cNvSpPr txBox="1"/>
          <p:nvPr/>
        </p:nvSpPr>
        <p:spPr>
          <a:xfrm>
            <a:off x="10013683" y="5908450"/>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95" name="Rectangle 94">
            <a:extLst>
              <a:ext uri="{FF2B5EF4-FFF2-40B4-BE49-F238E27FC236}">
                <a16:creationId xmlns:a16="http://schemas.microsoft.com/office/drawing/2014/main" id="{7924FFC3-A9B8-440C-8CB6-DBFB25D4FC59}"/>
              </a:ext>
            </a:extLst>
          </p:cNvPr>
          <p:cNvSpPr/>
          <p:nvPr/>
        </p:nvSpPr>
        <p:spPr>
          <a:xfrm>
            <a:off x="3775489" y="5837409"/>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6" name="TextBox 95">
            <a:extLst>
              <a:ext uri="{FF2B5EF4-FFF2-40B4-BE49-F238E27FC236}">
                <a16:creationId xmlns:a16="http://schemas.microsoft.com/office/drawing/2014/main" id="{1691F3B4-2E76-4EA7-B05B-E7D3D79F1CDB}"/>
              </a:ext>
            </a:extLst>
          </p:cNvPr>
          <p:cNvSpPr txBox="1"/>
          <p:nvPr/>
        </p:nvSpPr>
        <p:spPr>
          <a:xfrm>
            <a:off x="3878195" y="5900702"/>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98" name="Rectangle 97">
            <a:extLst>
              <a:ext uri="{FF2B5EF4-FFF2-40B4-BE49-F238E27FC236}">
                <a16:creationId xmlns:a16="http://schemas.microsoft.com/office/drawing/2014/main" id="{65874EB7-8523-4BBE-9063-E396A3CD365B}"/>
              </a:ext>
            </a:extLst>
          </p:cNvPr>
          <p:cNvSpPr/>
          <p:nvPr/>
        </p:nvSpPr>
        <p:spPr>
          <a:xfrm>
            <a:off x="7317653" y="5851723"/>
            <a:ext cx="1342615" cy="442996"/>
          </a:xfrm>
          <a:prstGeom prst="rect">
            <a:avLst/>
          </a:prstGeom>
          <a:solidFill>
            <a:srgbClr val="00B05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99" name="TextBox 98">
            <a:extLst>
              <a:ext uri="{FF2B5EF4-FFF2-40B4-BE49-F238E27FC236}">
                <a16:creationId xmlns:a16="http://schemas.microsoft.com/office/drawing/2014/main" id="{C2B4C830-1606-4459-BA48-B3616C21F373}"/>
              </a:ext>
            </a:extLst>
          </p:cNvPr>
          <p:cNvSpPr txBox="1"/>
          <p:nvPr/>
        </p:nvSpPr>
        <p:spPr>
          <a:xfrm>
            <a:off x="7478075" y="5915016"/>
            <a:ext cx="1342615" cy="292388"/>
          </a:xfrm>
          <a:prstGeom prst="rect">
            <a:avLst/>
          </a:prstGeom>
          <a:noFill/>
        </p:spPr>
        <p:txBody>
          <a:bodyPr wrap="square" lIns="0" tIns="0" rIns="0" bIns="0" rtlCol="0">
            <a:spAutoFit/>
          </a:bodyPr>
          <a:lstStyle/>
          <a:p>
            <a:pPr algn="l"/>
            <a:r>
              <a:rPr lang="nl-NL" sz="1000" b="1" dirty="0"/>
              <a:t>Publicatie portret toegestaan</a:t>
            </a:r>
          </a:p>
        </p:txBody>
      </p:sp>
      <p:sp>
        <p:nvSpPr>
          <p:cNvPr id="101" name="Rectangle 100">
            <a:extLst>
              <a:ext uri="{FF2B5EF4-FFF2-40B4-BE49-F238E27FC236}">
                <a16:creationId xmlns:a16="http://schemas.microsoft.com/office/drawing/2014/main" id="{18D2BBA3-1CFD-44B6-A9E3-2D3BA0B7354D}"/>
              </a:ext>
            </a:extLst>
          </p:cNvPr>
          <p:cNvSpPr/>
          <p:nvPr/>
        </p:nvSpPr>
        <p:spPr>
          <a:xfrm>
            <a:off x="5539015" y="5830550"/>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2" name="TextBox 101">
            <a:extLst>
              <a:ext uri="{FF2B5EF4-FFF2-40B4-BE49-F238E27FC236}">
                <a16:creationId xmlns:a16="http://schemas.microsoft.com/office/drawing/2014/main" id="{83A5AAE7-12D9-4338-A31E-4960F204A60F}"/>
              </a:ext>
            </a:extLst>
          </p:cNvPr>
          <p:cNvSpPr txBox="1"/>
          <p:nvPr/>
        </p:nvSpPr>
        <p:spPr>
          <a:xfrm>
            <a:off x="5641722" y="5893843"/>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06" name="Rectangle 105">
            <a:extLst>
              <a:ext uri="{FF2B5EF4-FFF2-40B4-BE49-F238E27FC236}">
                <a16:creationId xmlns:a16="http://schemas.microsoft.com/office/drawing/2014/main" id="{451E2EB0-C06D-4FF8-86B2-4AD4B5CD2271}"/>
              </a:ext>
            </a:extLst>
          </p:cNvPr>
          <p:cNvSpPr/>
          <p:nvPr/>
        </p:nvSpPr>
        <p:spPr>
          <a:xfrm>
            <a:off x="9910976" y="5837409"/>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07" name="TextBox 106">
            <a:extLst>
              <a:ext uri="{FF2B5EF4-FFF2-40B4-BE49-F238E27FC236}">
                <a16:creationId xmlns:a16="http://schemas.microsoft.com/office/drawing/2014/main" id="{609E68FE-A3F3-428A-8593-ED604F2FE595}"/>
              </a:ext>
            </a:extLst>
          </p:cNvPr>
          <p:cNvSpPr txBox="1"/>
          <p:nvPr/>
        </p:nvSpPr>
        <p:spPr>
          <a:xfrm>
            <a:off x="10013683" y="5900702"/>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24" name="Rectangle 123">
            <a:extLst>
              <a:ext uri="{FF2B5EF4-FFF2-40B4-BE49-F238E27FC236}">
                <a16:creationId xmlns:a16="http://schemas.microsoft.com/office/drawing/2014/main" id="{C8B8F766-1712-4473-87E4-3C7830A939E3}"/>
              </a:ext>
            </a:extLst>
          </p:cNvPr>
          <p:cNvSpPr/>
          <p:nvPr/>
        </p:nvSpPr>
        <p:spPr>
          <a:xfrm>
            <a:off x="1866934" y="2418605"/>
            <a:ext cx="1830225" cy="586198"/>
          </a:xfrm>
          <a:prstGeom prst="rect">
            <a:avLst/>
          </a:prstGeom>
          <a:solidFill>
            <a:srgbClr val="FFFF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5" name="TextBox 124">
            <a:extLst>
              <a:ext uri="{FF2B5EF4-FFF2-40B4-BE49-F238E27FC236}">
                <a16:creationId xmlns:a16="http://schemas.microsoft.com/office/drawing/2014/main" id="{30FDF0AB-28BD-428B-B668-8463A9ACF6F0}"/>
              </a:ext>
            </a:extLst>
          </p:cNvPr>
          <p:cNvSpPr txBox="1"/>
          <p:nvPr/>
        </p:nvSpPr>
        <p:spPr>
          <a:xfrm>
            <a:off x="1923959" y="2474299"/>
            <a:ext cx="1727519" cy="438582"/>
          </a:xfrm>
          <a:prstGeom prst="rect">
            <a:avLst/>
          </a:prstGeom>
          <a:noFill/>
        </p:spPr>
        <p:txBody>
          <a:bodyPr wrap="square" lIns="0" tIns="0" rIns="0" bIns="0" rtlCol="0">
            <a:spAutoFit/>
          </a:bodyPr>
          <a:lstStyle/>
          <a:p>
            <a:pPr algn="l"/>
            <a:r>
              <a:rPr lang="nl-NL" sz="1000" b="1" dirty="0"/>
              <a:t>Is er sprake van een privacybelang dat zwaarder weegt</a:t>
            </a:r>
          </a:p>
        </p:txBody>
      </p:sp>
      <p:cxnSp>
        <p:nvCxnSpPr>
          <p:cNvPr id="126" name="Straight Connector 125">
            <a:extLst>
              <a:ext uri="{FF2B5EF4-FFF2-40B4-BE49-F238E27FC236}">
                <a16:creationId xmlns:a16="http://schemas.microsoft.com/office/drawing/2014/main" id="{F972DA0F-5EA6-4B15-9BEC-6DDF1E5AEA5B}"/>
              </a:ext>
            </a:extLst>
          </p:cNvPr>
          <p:cNvCxnSpPr>
            <a:cxnSpLocks/>
          </p:cNvCxnSpPr>
          <p:nvPr/>
        </p:nvCxnSpPr>
        <p:spPr>
          <a:xfrm>
            <a:off x="1281826" y="3345747"/>
            <a:ext cx="2883614"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0D0A9401-8F6A-4DC2-BA84-120FF7BA7FF8}"/>
              </a:ext>
            </a:extLst>
          </p:cNvPr>
          <p:cNvSpPr/>
          <p:nvPr/>
        </p:nvSpPr>
        <p:spPr>
          <a:xfrm>
            <a:off x="3406456" y="3203950"/>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28" name="Oval 127">
            <a:extLst>
              <a:ext uri="{FF2B5EF4-FFF2-40B4-BE49-F238E27FC236}">
                <a16:creationId xmlns:a16="http://schemas.microsoft.com/office/drawing/2014/main" id="{8D9FCA63-2306-4637-A5E8-7D4217718489}"/>
              </a:ext>
            </a:extLst>
          </p:cNvPr>
          <p:cNvSpPr/>
          <p:nvPr/>
        </p:nvSpPr>
        <p:spPr>
          <a:xfrm>
            <a:off x="1782046" y="3200691"/>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cxnSp>
        <p:nvCxnSpPr>
          <p:cNvPr id="129" name="Straight Connector 128">
            <a:extLst>
              <a:ext uri="{FF2B5EF4-FFF2-40B4-BE49-F238E27FC236}">
                <a16:creationId xmlns:a16="http://schemas.microsoft.com/office/drawing/2014/main" id="{AFA73E03-443B-461C-9E6E-C15745CB4411}"/>
              </a:ext>
            </a:extLst>
          </p:cNvPr>
          <p:cNvCxnSpPr>
            <a:cxnSpLocks/>
          </p:cNvCxnSpPr>
          <p:nvPr/>
        </p:nvCxnSpPr>
        <p:spPr>
          <a:xfrm>
            <a:off x="2710697" y="3017464"/>
            <a:ext cx="0" cy="315503"/>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30" name="TextBox 129">
            <a:extLst>
              <a:ext uri="{FF2B5EF4-FFF2-40B4-BE49-F238E27FC236}">
                <a16:creationId xmlns:a16="http://schemas.microsoft.com/office/drawing/2014/main" id="{7AC68ED0-A10B-4E1E-94E7-1A0F2DE415B2}"/>
              </a:ext>
            </a:extLst>
          </p:cNvPr>
          <p:cNvSpPr txBox="1"/>
          <p:nvPr/>
        </p:nvSpPr>
        <p:spPr>
          <a:xfrm>
            <a:off x="1822685" y="3303992"/>
            <a:ext cx="238760" cy="146194"/>
          </a:xfrm>
          <a:prstGeom prst="rect">
            <a:avLst/>
          </a:prstGeom>
          <a:solidFill>
            <a:srgbClr val="FFFF00"/>
          </a:solidFill>
        </p:spPr>
        <p:txBody>
          <a:bodyPr wrap="square" lIns="0" tIns="0" rIns="0" bIns="0" rtlCol="0">
            <a:spAutoFit/>
          </a:bodyPr>
          <a:lstStyle/>
          <a:p>
            <a:pPr algn="ctr"/>
            <a:r>
              <a:rPr lang="nl-NL" sz="1000" b="1" dirty="0"/>
              <a:t>Ja</a:t>
            </a:r>
          </a:p>
        </p:txBody>
      </p:sp>
      <p:sp>
        <p:nvSpPr>
          <p:cNvPr id="131" name="TextBox 130">
            <a:extLst>
              <a:ext uri="{FF2B5EF4-FFF2-40B4-BE49-F238E27FC236}">
                <a16:creationId xmlns:a16="http://schemas.microsoft.com/office/drawing/2014/main" id="{47EF5ED5-8802-4DD6-928D-9545D4046563}"/>
              </a:ext>
            </a:extLst>
          </p:cNvPr>
          <p:cNvSpPr txBox="1"/>
          <p:nvPr/>
        </p:nvSpPr>
        <p:spPr>
          <a:xfrm>
            <a:off x="3457256" y="3279927"/>
            <a:ext cx="238760" cy="146194"/>
          </a:xfrm>
          <a:prstGeom prst="rect">
            <a:avLst/>
          </a:prstGeom>
          <a:noFill/>
        </p:spPr>
        <p:txBody>
          <a:bodyPr wrap="square" lIns="0" tIns="0" rIns="0" bIns="0" rtlCol="0">
            <a:spAutoFit/>
          </a:bodyPr>
          <a:lstStyle/>
          <a:p>
            <a:pPr algn="ctr"/>
            <a:r>
              <a:rPr lang="nl-NL" sz="1000" b="1" dirty="0"/>
              <a:t>Nee</a:t>
            </a:r>
          </a:p>
        </p:txBody>
      </p:sp>
      <p:cxnSp>
        <p:nvCxnSpPr>
          <p:cNvPr id="139" name="Straight Connector 138">
            <a:extLst>
              <a:ext uri="{FF2B5EF4-FFF2-40B4-BE49-F238E27FC236}">
                <a16:creationId xmlns:a16="http://schemas.microsoft.com/office/drawing/2014/main" id="{0CAB89A0-F10C-4137-946E-D5384CA9F81C}"/>
              </a:ext>
            </a:extLst>
          </p:cNvPr>
          <p:cNvCxnSpPr>
            <a:cxnSpLocks/>
          </p:cNvCxnSpPr>
          <p:nvPr/>
        </p:nvCxnSpPr>
        <p:spPr>
          <a:xfrm>
            <a:off x="4165440" y="3345747"/>
            <a:ext cx="0" cy="249166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AAF164F-4380-4357-AFD6-527FDEF78A25}"/>
              </a:ext>
            </a:extLst>
          </p:cNvPr>
          <p:cNvCxnSpPr>
            <a:cxnSpLocks/>
          </p:cNvCxnSpPr>
          <p:nvPr/>
        </p:nvCxnSpPr>
        <p:spPr>
          <a:xfrm>
            <a:off x="1281826" y="3332967"/>
            <a:ext cx="0" cy="2753837"/>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2123B680-F3A0-4A7B-B1EA-D77822697EA2}"/>
              </a:ext>
            </a:extLst>
          </p:cNvPr>
          <p:cNvSpPr/>
          <p:nvPr/>
        </p:nvSpPr>
        <p:spPr>
          <a:xfrm>
            <a:off x="700596" y="5828503"/>
            <a:ext cx="1342615" cy="442996"/>
          </a:xfrm>
          <a:prstGeom prst="rect">
            <a:avLst/>
          </a:prstGeom>
          <a:solidFill>
            <a:srgbClr val="FF0000"/>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43" name="TextBox 142">
            <a:extLst>
              <a:ext uri="{FF2B5EF4-FFF2-40B4-BE49-F238E27FC236}">
                <a16:creationId xmlns:a16="http://schemas.microsoft.com/office/drawing/2014/main" id="{6A3D137E-0FA2-498B-80D1-3A9B84EC13EB}"/>
              </a:ext>
            </a:extLst>
          </p:cNvPr>
          <p:cNvSpPr txBox="1"/>
          <p:nvPr/>
        </p:nvSpPr>
        <p:spPr>
          <a:xfrm>
            <a:off x="803303" y="5891796"/>
            <a:ext cx="1154436" cy="292388"/>
          </a:xfrm>
          <a:prstGeom prst="rect">
            <a:avLst/>
          </a:prstGeom>
          <a:noFill/>
        </p:spPr>
        <p:txBody>
          <a:bodyPr wrap="square" lIns="0" tIns="0" rIns="0" bIns="0" rtlCol="0">
            <a:spAutoFit/>
          </a:bodyPr>
          <a:lstStyle/>
          <a:p>
            <a:pPr algn="l"/>
            <a:r>
              <a:rPr lang="nl-NL" sz="1000" b="1" dirty="0"/>
              <a:t>Publicatie portret niet toegestaan</a:t>
            </a:r>
          </a:p>
        </p:txBody>
      </p:sp>
      <p:sp>
        <p:nvSpPr>
          <p:cNvPr id="145" name="TextBox 144">
            <a:extLst>
              <a:ext uri="{FF2B5EF4-FFF2-40B4-BE49-F238E27FC236}">
                <a16:creationId xmlns:a16="http://schemas.microsoft.com/office/drawing/2014/main" id="{1DEBE77C-D20E-4E17-821E-E37406F92D45}"/>
              </a:ext>
            </a:extLst>
          </p:cNvPr>
          <p:cNvSpPr txBox="1"/>
          <p:nvPr/>
        </p:nvSpPr>
        <p:spPr>
          <a:xfrm>
            <a:off x="305318" y="2432689"/>
            <a:ext cx="1509486" cy="584775"/>
          </a:xfrm>
          <a:prstGeom prst="rect">
            <a:avLst/>
          </a:prstGeom>
          <a:noFill/>
        </p:spPr>
        <p:txBody>
          <a:bodyPr wrap="square" lIns="0" tIns="0" rIns="0" bIns="0" rtlCol="0">
            <a:spAutoFit/>
          </a:bodyPr>
          <a:lstStyle/>
          <a:p>
            <a:pPr algn="l"/>
            <a:r>
              <a:rPr lang="nl-NL" sz="1000" b="1" dirty="0"/>
              <a:t>- Bijvoorbeeld ongewenste  associatie met een commercieel product</a:t>
            </a:r>
          </a:p>
        </p:txBody>
      </p:sp>
      <p:sp>
        <p:nvSpPr>
          <p:cNvPr id="147" name="Title 4">
            <a:extLst>
              <a:ext uri="{FF2B5EF4-FFF2-40B4-BE49-F238E27FC236}">
                <a16:creationId xmlns:a16="http://schemas.microsoft.com/office/drawing/2014/main" id="{DFB8379B-C52C-44B1-9975-E4C1FA19CCDF}"/>
              </a:ext>
            </a:extLst>
          </p:cNvPr>
          <p:cNvSpPr txBox="1">
            <a:spLocks/>
          </p:cNvSpPr>
          <p:nvPr/>
        </p:nvSpPr>
        <p:spPr>
          <a:xfrm>
            <a:off x="576262" y="295270"/>
            <a:ext cx="10752137" cy="720000"/>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a:lstStyle>
          <a:p>
            <a:pPr>
              <a:buFontTx/>
            </a:pPr>
            <a:r>
              <a:rPr lang="en-GB" altLang="en-US" dirty="0" err="1"/>
              <a:t>Stroomschema</a:t>
            </a:r>
            <a:r>
              <a:rPr lang="en-GB" altLang="en-US" dirty="0"/>
              <a:t> (Dommering (2))</a:t>
            </a:r>
            <a:endParaRPr lang="en-GB" dirty="0"/>
          </a:p>
        </p:txBody>
      </p:sp>
      <p:cxnSp>
        <p:nvCxnSpPr>
          <p:cNvPr id="155" name="Straight Connector 154">
            <a:extLst>
              <a:ext uri="{FF2B5EF4-FFF2-40B4-BE49-F238E27FC236}">
                <a16:creationId xmlns:a16="http://schemas.microsoft.com/office/drawing/2014/main" id="{03B7BE4A-CF65-4512-A89A-948616AED39F}"/>
              </a:ext>
            </a:extLst>
          </p:cNvPr>
          <p:cNvCxnSpPr>
            <a:cxnSpLocks/>
          </p:cNvCxnSpPr>
          <p:nvPr/>
        </p:nvCxnSpPr>
        <p:spPr>
          <a:xfrm>
            <a:off x="4165440" y="1855829"/>
            <a:ext cx="0" cy="30113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30B4CD8B-F415-4A5D-AE6D-3787E6038458}"/>
              </a:ext>
            </a:extLst>
          </p:cNvPr>
          <p:cNvCxnSpPr>
            <a:cxnSpLocks/>
          </p:cNvCxnSpPr>
          <p:nvPr/>
        </p:nvCxnSpPr>
        <p:spPr>
          <a:xfrm flipH="1">
            <a:off x="4137286" y="2141084"/>
            <a:ext cx="657225"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398E1487-A1C3-4BCC-8195-A5C1F2136655}"/>
              </a:ext>
            </a:extLst>
          </p:cNvPr>
          <p:cNvCxnSpPr>
            <a:cxnSpLocks/>
          </p:cNvCxnSpPr>
          <p:nvPr/>
        </p:nvCxnSpPr>
        <p:spPr>
          <a:xfrm flipH="1">
            <a:off x="5175566" y="2141084"/>
            <a:ext cx="530170"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470868ED-BC16-482B-A7F9-C0C548EF9F78}"/>
              </a:ext>
            </a:extLst>
          </p:cNvPr>
          <p:cNvCxnSpPr>
            <a:cxnSpLocks/>
          </p:cNvCxnSpPr>
          <p:nvPr/>
        </p:nvCxnSpPr>
        <p:spPr>
          <a:xfrm>
            <a:off x="5683090" y="2114124"/>
            <a:ext cx="0" cy="290554"/>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A5B47A23-BE8A-4F96-89D0-6CAC7FF93FD4}"/>
              </a:ext>
            </a:extLst>
          </p:cNvPr>
          <p:cNvCxnSpPr>
            <a:cxnSpLocks/>
          </p:cNvCxnSpPr>
          <p:nvPr/>
        </p:nvCxnSpPr>
        <p:spPr>
          <a:xfrm>
            <a:off x="6013290" y="2980970"/>
            <a:ext cx="0" cy="298957"/>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2D18A667-30A4-49C8-A1FB-8E8DBB5CF163}"/>
              </a:ext>
            </a:extLst>
          </p:cNvPr>
          <p:cNvCxnSpPr>
            <a:cxnSpLocks/>
          </p:cNvCxnSpPr>
          <p:nvPr/>
        </p:nvCxnSpPr>
        <p:spPr>
          <a:xfrm flipH="1">
            <a:off x="5985136" y="3279927"/>
            <a:ext cx="708025"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2622013-BDDC-43F7-9C74-6A32E792A4A8}"/>
              </a:ext>
            </a:extLst>
          </p:cNvPr>
          <p:cNvCxnSpPr>
            <a:cxnSpLocks/>
          </p:cNvCxnSpPr>
          <p:nvPr/>
        </p:nvCxnSpPr>
        <p:spPr>
          <a:xfrm flipH="1">
            <a:off x="7072313" y="3279927"/>
            <a:ext cx="536836"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C9ACBD1B-E0E3-47A6-8AF5-6884094388FE}"/>
              </a:ext>
            </a:extLst>
          </p:cNvPr>
          <p:cNvCxnSpPr>
            <a:cxnSpLocks/>
          </p:cNvCxnSpPr>
          <p:nvPr/>
        </p:nvCxnSpPr>
        <p:spPr>
          <a:xfrm>
            <a:off x="7592319" y="3255863"/>
            <a:ext cx="0" cy="311572"/>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71DBDA2A-270E-48AE-BDA5-732D1A4DEA97}"/>
              </a:ext>
            </a:extLst>
          </p:cNvPr>
          <p:cNvCxnSpPr>
            <a:cxnSpLocks/>
          </p:cNvCxnSpPr>
          <p:nvPr/>
        </p:nvCxnSpPr>
        <p:spPr>
          <a:xfrm>
            <a:off x="7617998" y="4039412"/>
            <a:ext cx="0" cy="315904"/>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B407C825-E6E8-42CD-8F5B-5C29136052F5}"/>
              </a:ext>
            </a:extLst>
          </p:cNvPr>
          <p:cNvCxnSpPr>
            <a:cxnSpLocks/>
          </p:cNvCxnSpPr>
          <p:nvPr/>
        </p:nvCxnSpPr>
        <p:spPr>
          <a:xfrm flipH="1" flipV="1">
            <a:off x="7588250" y="4345791"/>
            <a:ext cx="653328" cy="1"/>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
        <p:nvSpPr>
          <p:cNvPr id="196" name="Oval 195">
            <a:extLst>
              <a:ext uri="{FF2B5EF4-FFF2-40B4-BE49-F238E27FC236}">
                <a16:creationId xmlns:a16="http://schemas.microsoft.com/office/drawing/2014/main" id="{FF94D867-3801-4519-BB43-0933CB92CBBC}"/>
              </a:ext>
            </a:extLst>
          </p:cNvPr>
          <p:cNvSpPr/>
          <p:nvPr/>
        </p:nvSpPr>
        <p:spPr>
          <a:xfrm>
            <a:off x="8250402" y="4181119"/>
            <a:ext cx="340360" cy="320237"/>
          </a:xfrm>
          <a:prstGeom prst="ellipse">
            <a:avLst/>
          </a:prstGeom>
          <a:solidFill>
            <a:srgbClr val="FFFF00"/>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97" name="TextBox 196">
            <a:extLst>
              <a:ext uri="{FF2B5EF4-FFF2-40B4-BE49-F238E27FC236}">
                <a16:creationId xmlns:a16="http://schemas.microsoft.com/office/drawing/2014/main" id="{03B9750A-AC7F-4B72-9FFB-B8DD6690310C}"/>
              </a:ext>
            </a:extLst>
          </p:cNvPr>
          <p:cNvSpPr txBox="1"/>
          <p:nvPr/>
        </p:nvSpPr>
        <p:spPr>
          <a:xfrm>
            <a:off x="8287179" y="4261112"/>
            <a:ext cx="238760" cy="146194"/>
          </a:xfrm>
          <a:prstGeom prst="rect">
            <a:avLst/>
          </a:prstGeom>
          <a:noFill/>
        </p:spPr>
        <p:txBody>
          <a:bodyPr wrap="square" lIns="0" tIns="0" rIns="0" bIns="0" rtlCol="0">
            <a:spAutoFit/>
          </a:bodyPr>
          <a:lstStyle/>
          <a:p>
            <a:pPr algn="ctr"/>
            <a:r>
              <a:rPr lang="nl-NL" sz="1000" b="1" dirty="0"/>
              <a:t>Ja</a:t>
            </a:r>
          </a:p>
        </p:txBody>
      </p:sp>
      <p:cxnSp>
        <p:nvCxnSpPr>
          <p:cNvPr id="198" name="Straight Connector 197">
            <a:extLst>
              <a:ext uri="{FF2B5EF4-FFF2-40B4-BE49-F238E27FC236}">
                <a16:creationId xmlns:a16="http://schemas.microsoft.com/office/drawing/2014/main" id="{B6C03AEC-5A8B-4189-9D9D-676A09C2C770}"/>
              </a:ext>
            </a:extLst>
          </p:cNvPr>
          <p:cNvCxnSpPr>
            <a:cxnSpLocks/>
          </p:cNvCxnSpPr>
          <p:nvPr/>
        </p:nvCxnSpPr>
        <p:spPr>
          <a:xfrm flipH="1">
            <a:off x="8614316" y="4350553"/>
            <a:ext cx="514116"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8936F01F-A92E-4B58-840C-60DAEBB47E3F}"/>
              </a:ext>
            </a:extLst>
          </p:cNvPr>
          <p:cNvCxnSpPr>
            <a:cxnSpLocks/>
          </p:cNvCxnSpPr>
          <p:nvPr/>
        </p:nvCxnSpPr>
        <p:spPr>
          <a:xfrm>
            <a:off x="9117104" y="4322663"/>
            <a:ext cx="0" cy="306673"/>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2DDD0254-F85C-442B-B88A-1039FA799417}"/>
              </a:ext>
            </a:extLst>
          </p:cNvPr>
          <p:cNvCxnSpPr>
            <a:cxnSpLocks/>
          </p:cNvCxnSpPr>
          <p:nvPr/>
        </p:nvCxnSpPr>
        <p:spPr>
          <a:xfrm>
            <a:off x="9117104" y="5246605"/>
            <a:ext cx="0" cy="306673"/>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FDE37D43-35A9-4FB4-9AF2-686989CFE959}"/>
              </a:ext>
            </a:extLst>
          </p:cNvPr>
          <p:cNvCxnSpPr>
            <a:cxnSpLocks/>
          </p:cNvCxnSpPr>
          <p:nvPr/>
        </p:nvCxnSpPr>
        <p:spPr>
          <a:xfrm>
            <a:off x="10701326" y="5523739"/>
            <a:ext cx="0" cy="343972"/>
          </a:xfrm>
          <a:prstGeom prst="line">
            <a:avLst/>
          </a:prstGeom>
          <a:ln w="57150">
            <a:solidFill>
              <a:srgbClr val="FFFF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3FD0D7BC-183E-4628-8711-85BF81729EDD}"/>
              </a:ext>
            </a:extLst>
          </p:cNvPr>
          <p:cNvCxnSpPr>
            <a:cxnSpLocks/>
          </p:cNvCxnSpPr>
          <p:nvPr/>
        </p:nvCxnSpPr>
        <p:spPr>
          <a:xfrm flipH="1">
            <a:off x="10196417" y="5550747"/>
            <a:ext cx="528733"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F8FC06C7-85C2-4F90-BD79-BBB209B65E3B}"/>
              </a:ext>
            </a:extLst>
          </p:cNvPr>
          <p:cNvCxnSpPr>
            <a:cxnSpLocks/>
          </p:cNvCxnSpPr>
          <p:nvPr/>
        </p:nvCxnSpPr>
        <p:spPr>
          <a:xfrm flipH="1">
            <a:off x="9091613" y="5550747"/>
            <a:ext cx="723305" cy="0"/>
          </a:xfrm>
          <a:prstGeom prst="line">
            <a:avLst/>
          </a:prstGeom>
          <a:ln w="57150">
            <a:solidFill>
              <a:srgbClr val="FFFF00"/>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117768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dirty="0"/>
              <a:t>Reclame vs </a:t>
            </a:r>
            <a:r>
              <a:rPr lang="en-GB" dirty="0" err="1"/>
              <a:t>informatieve</a:t>
            </a:r>
            <a:r>
              <a:rPr lang="en-GB" dirty="0"/>
              <a:t> </a:t>
            </a:r>
            <a:r>
              <a:rPr lang="en-GB" dirty="0" err="1"/>
              <a:t>waarde</a:t>
            </a:r>
            <a:endParaRPr lang="en-GB" dirty="0"/>
          </a:p>
        </p:txBody>
      </p:sp>
      <p:pic>
        <p:nvPicPr>
          <p:cNvPr id="59394" name="Picture 2" descr="De Mooiste Doelpunten Allertijden - Vol. 2 (Dvd) | Dvd's | bol.com">
            <a:extLst>
              <a:ext uri="{FF2B5EF4-FFF2-40B4-BE49-F238E27FC236}">
                <a16:creationId xmlns:a16="http://schemas.microsoft.com/office/drawing/2014/main" id="{A50133CD-4626-42C5-BFA7-CBF9CC99AC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5408" y="2764357"/>
            <a:ext cx="1039248" cy="1492537"/>
          </a:xfrm>
          <a:prstGeom prst="rect">
            <a:avLst/>
          </a:prstGeom>
          <a:noFill/>
          <a:extLst>
            <a:ext uri="{909E8E84-426E-40DD-AFC4-6F175D3DCCD1}">
              <a14:hiddenFill xmlns:a14="http://schemas.microsoft.com/office/drawing/2010/main">
                <a:solidFill>
                  <a:srgbClr val="FFFFFF"/>
                </a:solidFill>
              </a14:hiddenFill>
            </a:ext>
          </a:extLst>
        </p:spPr>
      </p:pic>
      <p:pic>
        <p:nvPicPr>
          <p:cNvPr id="59396" name="Picture 4" descr="Nina, de 'onfatsoenlijke' biografie, is uit | Het Parool">
            <a:extLst>
              <a:ext uri="{FF2B5EF4-FFF2-40B4-BE49-F238E27FC236}">
                <a16:creationId xmlns:a16="http://schemas.microsoft.com/office/drawing/2014/main" id="{D79954BD-81A3-4C0E-BD87-BE997B0D2F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05297" y="2769582"/>
            <a:ext cx="959437" cy="149253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224D0EFD-0210-4911-8EAB-1363B90BD5AC}"/>
              </a:ext>
            </a:extLst>
          </p:cNvPr>
          <p:cNvPicPr>
            <a:picLocks noChangeAspect="1"/>
          </p:cNvPicPr>
          <p:nvPr/>
        </p:nvPicPr>
        <p:blipFill>
          <a:blip r:embed="rId5"/>
          <a:stretch>
            <a:fillRect/>
          </a:stretch>
        </p:blipFill>
        <p:spPr>
          <a:xfrm>
            <a:off x="4308959" y="2768666"/>
            <a:ext cx="1141456" cy="1488227"/>
          </a:xfrm>
          <a:prstGeom prst="rect">
            <a:avLst/>
          </a:prstGeom>
        </p:spPr>
      </p:pic>
      <p:pic>
        <p:nvPicPr>
          <p:cNvPr id="59398" name="Picture 6" descr="De coup van Cruijff (ebook), Menno de Galan | 9789400402164 | Boeken |  bol.com">
            <a:extLst>
              <a:ext uri="{FF2B5EF4-FFF2-40B4-BE49-F238E27FC236}">
                <a16:creationId xmlns:a16="http://schemas.microsoft.com/office/drawing/2014/main" id="{DFA9104B-5380-4DA0-BADB-6B62F5836B7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53665" y="2780058"/>
            <a:ext cx="959438" cy="149253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838E6931-5C16-4284-A0EF-BE9E3FDCCCDF}"/>
              </a:ext>
            </a:extLst>
          </p:cNvPr>
          <p:cNvPicPr>
            <a:picLocks noChangeAspect="1"/>
          </p:cNvPicPr>
          <p:nvPr/>
        </p:nvPicPr>
        <p:blipFill>
          <a:blip r:embed="rId7"/>
          <a:stretch>
            <a:fillRect/>
          </a:stretch>
        </p:blipFill>
        <p:spPr>
          <a:xfrm>
            <a:off x="714286" y="2764353"/>
            <a:ext cx="1055971" cy="1492540"/>
          </a:xfrm>
          <a:prstGeom prst="rect">
            <a:avLst/>
          </a:prstGeom>
        </p:spPr>
      </p:pic>
      <p:pic>
        <p:nvPicPr>
          <p:cNvPr id="59400" name="Picture 8" descr="Cassatieberoep verworpen in portretzaak Cruijff/Tirion | Boek9">
            <a:extLst>
              <a:ext uri="{FF2B5EF4-FFF2-40B4-BE49-F238E27FC236}">
                <a16:creationId xmlns:a16="http://schemas.microsoft.com/office/drawing/2014/main" id="{3143C8D7-4096-43DE-B2EE-286A82B804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46912" y="2785287"/>
            <a:ext cx="1414559" cy="148730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C20FF79-0356-4450-AA16-77D320AEDD28}"/>
              </a:ext>
            </a:extLst>
          </p:cNvPr>
          <p:cNvPicPr>
            <a:picLocks noChangeAspect="1"/>
          </p:cNvPicPr>
          <p:nvPr/>
        </p:nvPicPr>
        <p:blipFill>
          <a:blip r:embed="rId9"/>
          <a:stretch>
            <a:fillRect/>
          </a:stretch>
        </p:blipFill>
        <p:spPr>
          <a:xfrm>
            <a:off x="1867778" y="2774805"/>
            <a:ext cx="1213357" cy="1482088"/>
          </a:xfrm>
          <a:prstGeom prst="rect">
            <a:avLst/>
          </a:prstGeom>
        </p:spPr>
      </p:pic>
      <p:sp>
        <p:nvSpPr>
          <p:cNvPr id="10" name="Arrow: Right 9">
            <a:extLst>
              <a:ext uri="{FF2B5EF4-FFF2-40B4-BE49-F238E27FC236}">
                <a16:creationId xmlns:a16="http://schemas.microsoft.com/office/drawing/2014/main" id="{DD7CBF4E-318D-40BC-8606-FAB1DDBB43EF}"/>
              </a:ext>
            </a:extLst>
          </p:cNvPr>
          <p:cNvSpPr/>
          <p:nvPr/>
        </p:nvSpPr>
        <p:spPr>
          <a:xfrm>
            <a:off x="714286" y="1491917"/>
            <a:ext cx="9550447" cy="1093490"/>
          </a:xfrm>
          <a:prstGeom prst="rightArrow">
            <a:avLst/>
          </a:prstGeom>
          <a:solidFill>
            <a:srgbClr val="FFFF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1" name="TextBox 10">
            <a:extLst>
              <a:ext uri="{FF2B5EF4-FFF2-40B4-BE49-F238E27FC236}">
                <a16:creationId xmlns:a16="http://schemas.microsoft.com/office/drawing/2014/main" id="{510DF67D-F672-4BF9-B864-D56A6B2348D7}"/>
              </a:ext>
            </a:extLst>
          </p:cNvPr>
          <p:cNvSpPr txBox="1"/>
          <p:nvPr/>
        </p:nvSpPr>
        <p:spPr>
          <a:xfrm>
            <a:off x="3773104" y="1804752"/>
            <a:ext cx="3936732" cy="467820"/>
          </a:xfrm>
          <a:prstGeom prst="rect">
            <a:avLst/>
          </a:prstGeom>
          <a:noFill/>
        </p:spPr>
        <p:txBody>
          <a:bodyPr wrap="square" lIns="0" tIns="0" rIns="0" bIns="0" rtlCol="0">
            <a:spAutoFit/>
          </a:bodyPr>
          <a:lstStyle/>
          <a:p>
            <a:pPr algn="ctr"/>
            <a:r>
              <a:rPr lang="nl-NL" sz="3200" b="1" dirty="0"/>
              <a:t>Informatieve waarde</a:t>
            </a:r>
          </a:p>
        </p:txBody>
      </p:sp>
      <p:sp>
        <p:nvSpPr>
          <p:cNvPr id="16" name="Arrow: Right 15">
            <a:extLst>
              <a:ext uri="{FF2B5EF4-FFF2-40B4-BE49-F238E27FC236}">
                <a16:creationId xmlns:a16="http://schemas.microsoft.com/office/drawing/2014/main" id="{AB57083B-28AB-450D-B420-8775C735AC7B}"/>
              </a:ext>
            </a:extLst>
          </p:cNvPr>
          <p:cNvSpPr/>
          <p:nvPr/>
        </p:nvSpPr>
        <p:spPr>
          <a:xfrm rot="10800000">
            <a:off x="714285" y="4421151"/>
            <a:ext cx="9550448" cy="1093490"/>
          </a:xfrm>
          <a:prstGeom prst="rightArrow">
            <a:avLst/>
          </a:prstGeom>
          <a:solidFill>
            <a:srgbClr val="FFFF0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sp>
        <p:nvSpPr>
          <p:cNvPr id="17" name="TextBox 16">
            <a:extLst>
              <a:ext uri="{FF2B5EF4-FFF2-40B4-BE49-F238E27FC236}">
                <a16:creationId xmlns:a16="http://schemas.microsoft.com/office/drawing/2014/main" id="{465950D2-B73F-434A-9E45-B6414213866B}"/>
              </a:ext>
            </a:extLst>
          </p:cNvPr>
          <p:cNvSpPr txBox="1"/>
          <p:nvPr/>
        </p:nvSpPr>
        <p:spPr>
          <a:xfrm>
            <a:off x="3773104" y="4733986"/>
            <a:ext cx="3936732" cy="467820"/>
          </a:xfrm>
          <a:prstGeom prst="rect">
            <a:avLst/>
          </a:prstGeom>
          <a:noFill/>
        </p:spPr>
        <p:txBody>
          <a:bodyPr wrap="square" lIns="0" tIns="0" rIns="0" bIns="0" rtlCol="0">
            <a:spAutoFit/>
          </a:bodyPr>
          <a:lstStyle/>
          <a:p>
            <a:pPr algn="ctr"/>
            <a:r>
              <a:rPr lang="nl-NL" sz="3200" b="1" dirty="0"/>
              <a:t>Reclamedoeleinden</a:t>
            </a:r>
          </a:p>
        </p:txBody>
      </p:sp>
      <p:pic>
        <p:nvPicPr>
          <p:cNvPr id="59402" name="Picture 10" descr="t Schaep met de 5 Pooten, Asser Eli | BoekenWebsite.nl">
            <a:extLst>
              <a:ext uri="{FF2B5EF4-FFF2-40B4-BE49-F238E27FC236}">
                <a16:creationId xmlns:a16="http://schemas.microsoft.com/office/drawing/2014/main" id="{51AB2997-AC08-4405-977B-DE6E52F2829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47936" y="2774805"/>
            <a:ext cx="1096128" cy="1482088"/>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3267046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FFED7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Stelling 2</a:t>
            </a:r>
            <a:endParaRPr lang="en-GB" dirty="0"/>
          </a:p>
        </p:txBody>
      </p:sp>
      <p:sp>
        <p:nvSpPr>
          <p:cNvPr id="3" name="Subtitle 1">
            <a:extLst>
              <a:ext uri="{FF2B5EF4-FFF2-40B4-BE49-F238E27FC236}">
                <a16:creationId xmlns:a16="http://schemas.microsoft.com/office/drawing/2014/main" id="{BDBC01D3-B6FB-4FD6-86C5-1A1171FC98C7}"/>
              </a:ext>
            </a:extLst>
          </p:cNvPr>
          <p:cNvSpPr txBox="1">
            <a:spLocks/>
          </p:cNvSpPr>
          <p:nvPr/>
        </p:nvSpPr>
        <p:spPr>
          <a:xfrm>
            <a:off x="576262" y="1518953"/>
            <a:ext cx="6072188"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err="1"/>
              <a:t>Tirion</a:t>
            </a:r>
            <a:r>
              <a:rPr lang="en-GB" sz="3200" dirty="0"/>
              <a:t> had voor </a:t>
            </a:r>
            <a:r>
              <a:rPr lang="en-GB" sz="3200" dirty="0" err="1"/>
              <a:t>publicatie</a:t>
            </a:r>
            <a:r>
              <a:rPr lang="en-GB" sz="3200" dirty="0"/>
              <a:t> van het </a:t>
            </a:r>
            <a:r>
              <a:rPr lang="en-GB" sz="3200" dirty="0" err="1"/>
              <a:t>boek</a:t>
            </a:r>
            <a:r>
              <a:rPr lang="en-GB" sz="3200" dirty="0"/>
              <a:t> "Joan </a:t>
            </a:r>
            <a:r>
              <a:rPr lang="en-GB" sz="3200" dirty="0" err="1"/>
              <a:t>Cruijff</a:t>
            </a:r>
            <a:r>
              <a:rPr lang="en-GB" sz="3200" dirty="0"/>
              <a:t> De </a:t>
            </a:r>
            <a:r>
              <a:rPr lang="en-GB" sz="3200" dirty="0" err="1"/>
              <a:t>Ajacied</a:t>
            </a:r>
            <a:r>
              <a:rPr lang="en-GB" sz="3200" dirty="0"/>
              <a:t>" – </a:t>
            </a:r>
            <a:r>
              <a:rPr lang="en-GB" sz="3200" dirty="0" err="1"/>
              <a:t>achteraf</a:t>
            </a:r>
            <a:r>
              <a:rPr lang="en-GB" sz="3200" dirty="0"/>
              <a:t> </a:t>
            </a:r>
            <a:r>
              <a:rPr lang="en-GB" sz="3200" dirty="0" err="1"/>
              <a:t>beschouwd</a:t>
            </a:r>
            <a:r>
              <a:rPr lang="en-GB" sz="3200" dirty="0"/>
              <a:t> – </a:t>
            </a:r>
            <a:r>
              <a:rPr lang="en-GB" sz="3200" dirty="0" err="1"/>
              <a:t>geen</a:t>
            </a:r>
            <a:r>
              <a:rPr lang="en-GB" sz="3200" dirty="0"/>
              <a:t> </a:t>
            </a:r>
            <a:r>
              <a:rPr lang="en-GB" sz="3200" dirty="0" err="1"/>
              <a:t>redelijke</a:t>
            </a:r>
            <a:r>
              <a:rPr lang="en-GB" sz="3200" dirty="0"/>
              <a:t> </a:t>
            </a:r>
            <a:r>
              <a:rPr lang="en-GB" sz="3200" dirty="0" err="1"/>
              <a:t>vergoeding</a:t>
            </a:r>
            <a:r>
              <a:rPr lang="en-GB" sz="3200" dirty="0"/>
              <a:t> </a:t>
            </a:r>
            <a:r>
              <a:rPr lang="en-GB" sz="3200" dirty="0" err="1"/>
              <a:t>hoeven</a:t>
            </a:r>
            <a:r>
              <a:rPr lang="en-GB" sz="3200" dirty="0"/>
              <a:t> </a:t>
            </a:r>
            <a:r>
              <a:rPr lang="en-GB" sz="3200" dirty="0" err="1"/>
              <a:t>aan</a:t>
            </a:r>
            <a:r>
              <a:rPr lang="en-GB" sz="3200" dirty="0"/>
              <a:t> te </a:t>
            </a:r>
            <a:r>
              <a:rPr lang="en-GB" sz="3200" dirty="0" err="1"/>
              <a:t>bieden</a:t>
            </a:r>
            <a:r>
              <a:rPr lang="en-GB" sz="3200" dirty="0"/>
              <a:t> </a:t>
            </a:r>
            <a:r>
              <a:rPr lang="en-GB" sz="3200" dirty="0" err="1"/>
              <a:t>vanwege</a:t>
            </a:r>
            <a:r>
              <a:rPr lang="en-GB" sz="3200" dirty="0"/>
              <a:t> de </a:t>
            </a:r>
            <a:r>
              <a:rPr lang="en-GB" sz="3200" dirty="0" err="1"/>
              <a:t>informatieve</a:t>
            </a:r>
            <a:r>
              <a:rPr lang="en-GB" sz="3200" dirty="0"/>
              <a:t> </a:t>
            </a:r>
            <a:r>
              <a:rPr lang="en-GB" sz="3200" dirty="0" err="1"/>
              <a:t>waarde</a:t>
            </a:r>
            <a:r>
              <a:rPr lang="en-GB" sz="3200" dirty="0"/>
              <a:t> van het </a:t>
            </a:r>
            <a:r>
              <a:rPr lang="en-GB" sz="3200" dirty="0" err="1"/>
              <a:t>boek</a:t>
            </a:r>
            <a:r>
              <a:rPr lang="en-GB" sz="3200" dirty="0"/>
              <a:t>.</a:t>
            </a:r>
          </a:p>
        </p:txBody>
      </p:sp>
      <p:pic>
        <p:nvPicPr>
          <p:cNvPr id="4" name="Picture 2">
            <a:extLst>
              <a:ext uri="{FF2B5EF4-FFF2-40B4-BE49-F238E27FC236}">
                <a16:creationId xmlns:a16="http://schemas.microsoft.com/office/drawing/2014/main" id="{313C94AB-776D-4945-B5BB-DF6AC99C17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97040" y="1293508"/>
            <a:ext cx="4193162" cy="4408810"/>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5887913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Niet-bekende</a:t>
            </a:r>
            <a:r>
              <a:rPr lang="en-GB" altLang="en-US" dirty="0"/>
              <a:t> </a:t>
            </a:r>
            <a:r>
              <a:rPr lang="en-GB" altLang="en-US" dirty="0" err="1"/>
              <a:t>personen</a:t>
            </a:r>
            <a:endParaRPr lang="en-GB" dirty="0"/>
          </a:p>
        </p:txBody>
      </p:sp>
      <p:sp>
        <p:nvSpPr>
          <p:cNvPr id="3" name="Subtitle 1">
            <a:extLst>
              <a:ext uri="{FF2B5EF4-FFF2-40B4-BE49-F238E27FC236}">
                <a16:creationId xmlns:a16="http://schemas.microsoft.com/office/drawing/2014/main" id="{EC8BBCEB-76BA-441D-9234-0EE326F0B772}"/>
              </a:ext>
            </a:extLst>
          </p:cNvPr>
          <p:cNvSpPr txBox="1">
            <a:spLocks/>
          </p:cNvSpPr>
          <p:nvPr/>
        </p:nvSpPr>
        <p:spPr>
          <a:xfrm>
            <a:off x="576262" y="1518953"/>
            <a:ext cx="6171779"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t>
            </a:r>
            <a:r>
              <a:rPr lang="en-GB" sz="3200" dirty="0" err="1"/>
              <a:t>Een</a:t>
            </a:r>
            <a:r>
              <a:rPr lang="en-GB" sz="3200" dirty="0"/>
              <a:t> </a:t>
            </a:r>
            <a:r>
              <a:rPr lang="en-GB" sz="3200" dirty="0" err="1"/>
              <a:t>fundamenteel</a:t>
            </a:r>
            <a:r>
              <a:rPr lang="en-GB" sz="3200" dirty="0"/>
              <a:t> </a:t>
            </a:r>
            <a:r>
              <a:rPr lang="en-GB" sz="3200" dirty="0" err="1"/>
              <a:t>recht</a:t>
            </a:r>
            <a:r>
              <a:rPr lang="en-GB" sz="3200" dirty="0"/>
              <a:t> om met rust </a:t>
            </a:r>
            <a:r>
              <a:rPr lang="en-GB" sz="3200" dirty="0" err="1"/>
              <a:t>gelaten</a:t>
            </a:r>
            <a:r>
              <a:rPr lang="en-GB" sz="3200" dirty="0"/>
              <a:t> te </a:t>
            </a:r>
            <a:r>
              <a:rPr lang="en-GB" sz="3200" dirty="0" err="1"/>
              <a:t>worden</a:t>
            </a:r>
            <a:r>
              <a:rPr lang="en-GB" sz="3200" dirty="0"/>
              <a:t>?</a:t>
            </a:r>
          </a:p>
          <a:p>
            <a:pPr lvl="1"/>
            <a:r>
              <a:rPr lang="en-GB" sz="3200" dirty="0"/>
              <a:t> </a:t>
            </a:r>
            <a:r>
              <a:rPr lang="en-GB" sz="3200" dirty="0" err="1"/>
              <a:t>Bijdrage</a:t>
            </a:r>
            <a:r>
              <a:rPr lang="en-GB" sz="3200" dirty="0"/>
              <a:t> </a:t>
            </a:r>
            <a:r>
              <a:rPr lang="en-GB" sz="3200" dirty="0" err="1"/>
              <a:t>aan</a:t>
            </a:r>
            <a:r>
              <a:rPr lang="en-GB" sz="3200" dirty="0"/>
              <a:t> </a:t>
            </a:r>
            <a:r>
              <a:rPr lang="en-GB" sz="3200" dirty="0" err="1"/>
              <a:t>een</a:t>
            </a:r>
            <a:r>
              <a:rPr lang="en-GB" sz="3200" dirty="0"/>
              <a:t> </a:t>
            </a:r>
            <a:r>
              <a:rPr lang="en-GB" sz="3200" dirty="0" err="1"/>
              <a:t>debat</a:t>
            </a:r>
            <a:r>
              <a:rPr lang="en-GB" sz="3200" dirty="0"/>
              <a:t> van </a:t>
            </a:r>
            <a:r>
              <a:rPr lang="en-GB" sz="3200" dirty="0" err="1"/>
              <a:t>publiek</a:t>
            </a:r>
            <a:r>
              <a:rPr lang="en-GB" sz="3200" dirty="0"/>
              <a:t> </a:t>
            </a:r>
            <a:r>
              <a:rPr lang="en-GB" sz="3200" dirty="0" err="1"/>
              <a:t>belang</a:t>
            </a:r>
            <a:r>
              <a:rPr lang="en-GB" sz="3200" dirty="0"/>
              <a:t>? </a:t>
            </a:r>
          </a:p>
          <a:p>
            <a:pPr lvl="1"/>
            <a:r>
              <a:rPr lang="en-GB" sz="3200" dirty="0"/>
              <a:t> </a:t>
            </a:r>
            <a:r>
              <a:rPr lang="en-GB" sz="3200" dirty="0" err="1"/>
              <a:t>Onschuldige</a:t>
            </a:r>
            <a:r>
              <a:rPr lang="en-GB" sz="3200" dirty="0"/>
              <a:t> </a:t>
            </a:r>
            <a:r>
              <a:rPr lang="en-GB" sz="3200" dirty="0" err="1"/>
              <a:t>foto</a:t>
            </a:r>
            <a:r>
              <a:rPr lang="en-GB" sz="3200" dirty="0"/>
              <a:t>?</a:t>
            </a:r>
          </a:p>
          <a:p>
            <a:pPr lvl="1"/>
            <a:r>
              <a:rPr lang="en-GB" sz="3200" dirty="0"/>
              <a:t> </a:t>
            </a:r>
            <a:r>
              <a:rPr lang="en-GB" sz="3200" dirty="0" err="1"/>
              <a:t>Ongemerkt</a:t>
            </a:r>
            <a:r>
              <a:rPr lang="en-GB" sz="3200" dirty="0"/>
              <a:t> </a:t>
            </a:r>
            <a:r>
              <a:rPr lang="en-GB" sz="3200" dirty="0" err="1"/>
              <a:t>genomen</a:t>
            </a:r>
            <a:r>
              <a:rPr lang="en-GB" sz="3200" dirty="0"/>
              <a:t>?</a:t>
            </a:r>
          </a:p>
        </p:txBody>
      </p:sp>
      <p:pic>
        <p:nvPicPr>
          <p:cNvPr id="6" name="Picture 5">
            <a:extLst>
              <a:ext uri="{FF2B5EF4-FFF2-40B4-BE49-F238E27FC236}">
                <a16:creationId xmlns:a16="http://schemas.microsoft.com/office/drawing/2014/main" id="{409FF98D-4EE1-406D-B33B-755DC4F91CAE}"/>
              </a:ext>
            </a:extLst>
          </p:cNvPr>
          <p:cNvPicPr>
            <a:picLocks noChangeAspect="1"/>
          </p:cNvPicPr>
          <p:nvPr/>
        </p:nvPicPr>
        <p:blipFill>
          <a:blip r:embed="rId3"/>
          <a:stretch>
            <a:fillRect/>
          </a:stretch>
        </p:blipFill>
        <p:spPr>
          <a:xfrm>
            <a:off x="6906764" y="838198"/>
            <a:ext cx="4517449" cy="5293886"/>
          </a:xfrm>
          <a:prstGeom prst="rect">
            <a:avLst/>
          </a:prstGeom>
        </p:spPr>
      </p:pic>
    </p:spTree>
    <p:custDataLst>
      <p:tags r:id="rId1"/>
    </p:custDataLst>
    <p:extLst>
      <p:ext uri="{BB962C8B-B14F-4D97-AF65-F5344CB8AC3E}">
        <p14:creationId xmlns:p14="http://schemas.microsoft.com/office/powerpoint/2010/main" val="25818702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Niet-bekende</a:t>
            </a:r>
            <a:r>
              <a:rPr lang="en-GB" altLang="en-US" dirty="0"/>
              <a:t> </a:t>
            </a:r>
            <a:r>
              <a:rPr lang="en-GB" altLang="en-US" dirty="0" err="1"/>
              <a:t>personen</a:t>
            </a:r>
            <a:r>
              <a:rPr lang="en-GB" altLang="en-US" dirty="0"/>
              <a:t> (2)</a:t>
            </a:r>
            <a:endParaRPr lang="en-GB" dirty="0"/>
          </a:p>
        </p:txBody>
      </p:sp>
      <p:sp>
        <p:nvSpPr>
          <p:cNvPr id="3" name="Subtitle 1">
            <a:extLst>
              <a:ext uri="{FF2B5EF4-FFF2-40B4-BE49-F238E27FC236}">
                <a16:creationId xmlns:a16="http://schemas.microsoft.com/office/drawing/2014/main" id="{EC8BBCEB-76BA-441D-9234-0EE326F0B772}"/>
              </a:ext>
            </a:extLst>
          </p:cNvPr>
          <p:cNvSpPr txBox="1">
            <a:spLocks/>
          </p:cNvSpPr>
          <p:nvPr/>
        </p:nvSpPr>
        <p:spPr>
          <a:xfrm>
            <a:off x="576262" y="1449504"/>
            <a:ext cx="10280791" cy="4847123"/>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a:t>Rechtbank Amsterdam:</a:t>
            </a:r>
          </a:p>
          <a:p>
            <a:pPr marL="0" lvl="1" indent="0">
              <a:buNone/>
            </a:pPr>
            <a:endParaRPr lang="en-GB" sz="3200" dirty="0"/>
          </a:p>
          <a:p>
            <a:pPr marL="0" lvl="1" indent="0">
              <a:buNone/>
            </a:pPr>
            <a:r>
              <a:rPr lang="en-GB" sz="3200" dirty="0"/>
              <a:t>"</a:t>
            </a:r>
            <a:r>
              <a:rPr lang="nl-NL" sz="3200" i="1" dirty="0"/>
              <a:t>Dat zij dan ook in een situatie verkeert, zoals bekende personen die veelvuldig ongewild worden gefotografeerd, die de wens rechtvaardigt met rust gelaten te worden wordt niet aannemelijk geacht. Het kan zo zijn dat [eiseres] </a:t>
            </a:r>
            <a:r>
              <a:rPr lang="nl-NL" sz="3200" b="1" i="1" u="sng" dirty="0"/>
              <a:t>niet graag gefotografeerd wordt, maar dat is onvoldoende </a:t>
            </a:r>
            <a:r>
              <a:rPr lang="nl-NL" sz="3200" i="1" dirty="0"/>
              <a:t>om een redelijk belang aan te nemen.</a:t>
            </a:r>
            <a:r>
              <a:rPr lang="nl-NL" sz="3200" dirty="0"/>
              <a:t>"</a:t>
            </a:r>
            <a:endParaRPr lang="en-GB" sz="3200" dirty="0"/>
          </a:p>
          <a:p>
            <a:pPr marL="0" lvl="1" indent="0">
              <a:buNone/>
            </a:pPr>
            <a:endParaRPr lang="en-GB" sz="3200" dirty="0"/>
          </a:p>
        </p:txBody>
      </p:sp>
    </p:spTree>
    <p:custDataLst>
      <p:tags r:id="rId1"/>
    </p:custDataLst>
    <p:extLst>
      <p:ext uri="{BB962C8B-B14F-4D97-AF65-F5344CB8AC3E}">
        <p14:creationId xmlns:p14="http://schemas.microsoft.com/office/powerpoint/2010/main" val="41282198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C0DF8A"/>
        </a:solid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22821C8D-6411-44FD-9BD9-8F42F5486670}"/>
              </a:ext>
            </a:extLst>
          </p:cNvPr>
          <p:cNvSpPr>
            <a:spLocks noGrp="1"/>
          </p:cNvSpPr>
          <p:nvPr>
            <p:ph type="ctrTitle"/>
          </p:nvPr>
        </p:nvSpPr>
        <p:spPr>
          <a:xfrm>
            <a:off x="2680484" y="1066379"/>
            <a:ext cx="8018462" cy="1444979"/>
          </a:xfrm>
        </p:spPr>
        <p:txBody>
          <a:bodyPr/>
          <a:lstStyle/>
          <a:p>
            <a:r>
              <a:rPr lang="en-GB" sz="5400" dirty="0"/>
              <a:t>Het </a:t>
            </a:r>
            <a:r>
              <a:rPr lang="en-GB" sz="5400" dirty="0" err="1"/>
              <a:t>portretbegrip</a:t>
            </a:r>
            <a:endParaRPr lang="en-GB" sz="5400" dirty="0"/>
          </a:p>
        </p:txBody>
      </p:sp>
    </p:spTree>
    <p:extLst>
      <p:ext uri="{BB962C8B-B14F-4D97-AF65-F5344CB8AC3E}">
        <p14:creationId xmlns:p14="http://schemas.microsoft.com/office/powerpoint/2010/main" val="4738293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Niet-bekende</a:t>
            </a:r>
            <a:r>
              <a:rPr lang="en-GB" altLang="en-US" dirty="0"/>
              <a:t> </a:t>
            </a:r>
            <a:r>
              <a:rPr lang="en-GB" altLang="en-US" dirty="0" err="1"/>
              <a:t>personen</a:t>
            </a:r>
            <a:r>
              <a:rPr lang="en-GB" altLang="en-US" dirty="0"/>
              <a:t> (3)</a:t>
            </a:r>
            <a:endParaRPr lang="en-GB" dirty="0"/>
          </a:p>
        </p:txBody>
      </p:sp>
      <p:sp>
        <p:nvSpPr>
          <p:cNvPr id="3" name="Subtitle 1">
            <a:extLst>
              <a:ext uri="{FF2B5EF4-FFF2-40B4-BE49-F238E27FC236}">
                <a16:creationId xmlns:a16="http://schemas.microsoft.com/office/drawing/2014/main" id="{EC8BBCEB-76BA-441D-9234-0EE326F0B772}"/>
              </a:ext>
            </a:extLst>
          </p:cNvPr>
          <p:cNvSpPr txBox="1">
            <a:spLocks/>
          </p:cNvSpPr>
          <p:nvPr/>
        </p:nvSpPr>
        <p:spPr>
          <a:xfrm>
            <a:off x="576262" y="1495803"/>
            <a:ext cx="10280791" cy="4847123"/>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a:t>Hoge Raad (</a:t>
            </a:r>
            <a:r>
              <a:rPr lang="en-GB" sz="3200" dirty="0" err="1"/>
              <a:t>Cruijff</a:t>
            </a:r>
            <a:r>
              <a:rPr lang="en-GB" sz="3200" dirty="0"/>
              <a:t>/</a:t>
            </a:r>
            <a:r>
              <a:rPr lang="en-GB" sz="3200" dirty="0" err="1"/>
              <a:t>Tirion</a:t>
            </a:r>
            <a:r>
              <a:rPr lang="en-GB" sz="3200" dirty="0"/>
              <a:t>):</a:t>
            </a:r>
          </a:p>
          <a:p>
            <a:pPr marL="0" lvl="1" indent="0">
              <a:buNone/>
            </a:pPr>
            <a:endParaRPr lang="en-GB" sz="3200" dirty="0"/>
          </a:p>
          <a:p>
            <a:pPr marL="0" lvl="1" indent="0">
              <a:buNone/>
            </a:pPr>
            <a:r>
              <a:rPr lang="en-GB" sz="3200" dirty="0"/>
              <a:t>"</a:t>
            </a:r>
            <a:r>
              <a:rPr lang="nl-NL" sz="3200" i="1" dirty="0"/>
              <a:t>Voor zover gericht op de bescherming van </a:t>
            </a:r>
            <a:r>
              <a:rPr lang="nl-NL" sz="3200" i="1" dirty="0" err="1"/>
              <a:t>privacy-belangen</a:t>
            </a:r>
            <a:r>
              <a:rPr lang="nl-NL" sz="3200" i="1" dirty="0"/>
              <a:t> is het portretrecht een persoonlijkheidsrecht waaraan in de regel een zwaarwegend gewicht zal toekomen. Dit geldt vooral ten aanzien van geportretteerden die geen publieke bekendheid genieten, in die zin dat zij openbaarmaking van hun portret </a:t>
            </a:r>
            <a:r>
              <a:rPr lang="nl-NL" sz="3200" b="1" i="1" u="sng" dirty="0"/>
              <a:t>in beginsel niet behoeven te dulden</a:t>
            </a:r>
            <a:r>
              <a:rPr lang="nl-NL" sz="3200" i="1" dirty="0"/>
              <a:t>.</a:t>
            </a:r>
            <a:r>
              <a:rPr lang="nl-NL" sz="3200" dirty="0"/>
              <a:t>"</a:t>
            </a:r>
            <a:endParaRPr lang="en-GB" sz="3200" dirty="0"/>
          </a:p>
        </p:txBody>
      </p:sp>
    </p:spTree>
    <p:custDataLst>
      <p:tags r:id="rId1"/>
    </p:custDataLst>
    <p:extLst>
      <p:ext uri="{BB962C8B-B14F-4D97-AF65-F5344CB8AC3E}">
        <p14:creationId xmlns:p14="http://schemas.microsoft.com/office/powerpoint/2010/main" val="42648818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ED7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Stelling 3</a:t>
            </a:r>
            <a:endParaRPr lang="en-GB" dirty="0"/>
          </a:p>
        </p:txBody>
      </p:sp>
      <p:sp>
        <p:nvSpPr>
          <p:cNvPr id="3" name="Subtitle 1">
            <a:extLst>
              <a:ext uri="{FF2B5EF4-FFF2-40B4-BE49-F238E27FC236}">
                <a16:creationId xmlns:a16="http://schemas.microsoft.com/office/drawing/2014/main" id="{BDBC01D3-B6FB-4FD6-86C5-1A1171FC98C7}"/>
              </a:ext>
            </a:extLst>
          </p:cNvPr>
          <p:cNvSpPr txBox="1">
            <a:spLocks/>
          </p:cNvSpPr>
          <p:nvPr/>
        </p:nvSpPr>
        <p:spPr>
          <a:xfrm>
            <a:off x="576262" y="1518953"/>
            <a:ext cx="5900738"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a:t>De </a:t>
            </a:r>
            <a:r>
              <a:rPr lang="en-GB" sz="3200" dirty="0" err="1"/>
              <a:t>joggende</a:t>
            </a:r>
            <a:r>
              <a:rPr lang="en-GB" sz="3200" dirty="0"/>
              <a:t> </a:t>
            </a:r>
            <a:r>
              <a:rPr lang="en-GB" sz="3200" dirty="0" err="1"/>
              <a:t>moeder</a:t>
            </a:r>
            <a:r>
              <a:rPr lang="en-GB" sz="3200" dirty="0"/>
              <a:t> had </a:t>
            </a:r>
            <a:r>
              <a:rPr lang="en-GB" sz="3200" dirty="0" err="1"/>
              <a:t>zich</a:t>
            </a:r>
            <a:r>
              <a:rPr lang="en-GB" sz="3200" dirty="0"/>
              <a:t> </a:t>
            </a:r>
            <a:r>
              <a:rPr lang="en-GB" sz="3200" dirty="0" err="1"/>
              <a:t>na</a:t>
            </a:r>
            <a:r>
              <a:rPr lang="en-GB" sz="3200" dirty="0"/>
              <a:t> </a:t>
            </a:r>
            <a:r>
              <a:rPr lang="en-GB" sz="3200" dirty="0" err="1"/>
              <a:t>Cruijff</a:t>
            </a:r>
            <a:r>
              <a:rPr lang="en-GB" sz="3200" dirty="0"/>
              <a:t> / </a:t>
            </a:r>
            <a:r>
              <a:rPr lang="en-GB" sz="3200" dirty="0" err="1"/>
              <a:t>Tirion</a:t>
            </a:r>
            <a:r>
              <a:rPr lang="en-GB" sz="3200" dirty="0"/>
              <a:t> </a:t>
            </a:r>
            <a:r>
              <a:rPr lang="en-GB" sz="3200" dirty="0" err="1"/>
              <a:t>als</a:t>
            </a:r>
            <a:r>
              <a:rPr lang="en-GB" sz="3200" dirty="0"/>
              <a:t> </a:t>
            </a:r>
            <a:r>
              <a:rPr lang="en-GB" sz="3200" dirty="0" err="1"/>
              <a:t>niet-bekende</a:t>
            </a:r>
            <a:r>
              <a:rPr lang="en-GB" sz="3200" dirty="0"/>
              <a:t> person met success </a:t>
            </a:r>
            <a:r>
              <a:rPr lang="en-GB" sz="3200" dirty="0" err="1"/>
              <a:t>kunnen</a:t>
            </a:r>
            <a:r>
              <a:rPr lang="en-GB" sz="3200" dirty="0"/>
              <a:t> </a:t>
            </a:r>
            <a:r>
              <a:rPr lang="en-GB" sz="3200" dirty="0" err="1"/>
              <a:t>verzetten</a:t>
            </a:r>
            <a:r>
              <a:rPr lang="en-GB" sz="3200" dirty="0"/>
              <a:t> </a:t>
            </a:r>
            <a:r>
              <a:rPr lang="en-GB" sz="3200" dirty="0" err="1"/>
              <a:t>tegen</a:t>
            </a:r>
            <a:r>
              <a:rPr lang="en-GB" sz="3200" dirty="0"/>
              <a:t> </a:t>
            </a:r>
            <a:r>
              <a:rPr lang="en-GB" sz="3200" dirty="0" err="1"/>
              <a:t>publicatie</a:t>
            </a:r>
            <a:r>
              <a:rPr lang="en-GB" sz="3200" dirty="0"/>
              <a:t> </a:t>
            </a:r>
          </a:p>
        </p:txBody>
      </p:sp>
      <p:pic>
        <p:nvPicPr>
          <p:cNvPr id="7" name="Picture 6">
            <a:extLst>
              <a:ext uri="{FF2B5EF4-FFF2-40B4-BE49-F238E27FC236}">
                <a16:creationId xmlns:a16="http://schemas.microsoft.com/office/drawing/2014/main" id="{E7D47AB1-640A-49AB-8CB1-A769E350EDB4}"/>
              </a:ext>
            </a:extLst>
          </p:cNvPr>
          <p:cNvPicPr>
            <a:picLocks noChangeAspect="1"/>
          </p:cNvPicPr>
          <p:nvPr/>
        </p:nvPicPr>
        <p:blipFill>
          <a:blip r:embed="rId3"/>
          <a:stretch>
            <a:fillRect/>
          </a:stretch>
        </p:blipFill>
        <p:spPr>
          <a:xfrm>
            <a:off x="6906764" y="838198"/>
            <a:ext cx="4517449" cy="5293886"/>
          </a:xfrm>
          <a:prstGeom prst="rect">
            <a:avLst/>
          </a:prstGeom>
        </p:spPr>
      </p:pic>
    </p:spTree>
    <p:custDataLst>
      <p:tags r:id="rId1"/>
    </p:custDataLst>
    <p:extLst>
      <p:ext uri="{BB962C8B-B14F-4D97-AF65-F5344CB8AC3E}">
        <p14:creationId xmlns:p14="http://schemas.microsoft.com/office/powerpoint/2010/main" val="2148071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C0DF8A"/>
        </a:solid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22821C8D-6411-44FD-9BD9-8F42F5486670}"/>
              </a:ext>
            </a:extLst>
          </p:cNvPr>
          <p:cNvSpPr>
            <a:spLocks noGrp="1"/>
          </p:cNvSpPr>
          <p:nvPr>
            <p:ph type="ctrTitle"/>
          </p:nvPr>
        </p:nvSpPr>
        <p:spPr>
          <a:xfrm>
            <a:off x="2680484" y="1066379"/>
            <a:ext cx="8018462" cy="1444979"/>
          </a:xfrm>
        </p:spPr>
        <p:txBody>
          <a:bodyPr/>
          <a:lstStyle/>
          <a:p>
            <a:r>
              <a:rPr lang="en-GB" sz="5400" dirty="0" err="1"/>
              <a:t>Juridische</a:t>
            </a:r>
            <a:r>
              <a:rPr lang="en-GB" sz="5400" dirty="0"/>
              <a:t> </a:t>
            </a:r>
            <a:r>
              <a:rPr lang="en-GB" sz="5400" dirty="0" err="1"/>
              <a:t>grondslag</a:t>
            </a:r>
            <a:endParaRPr lang="en-GB" sz="5400" dirty="0"/>
          </a:p>
        </p:txBody>
      </p:sp>
    </p:spTree>
    <p:extLst>
      <p:ext uri="{BB962C8B-B14F-4D97-AF65-F5344CB8AC3E}">
        <p14:creationId xmlns:p14="http://schemas.microsoft.com/office/powerpoint/2010/main" val="28345204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6E1D9"/>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De net-</a:t>
            </a:r>
            <a:r>
              <a:rPr lang="en-GB" altLang="en-US" dirty="0" err="1"/>
              <a:t>niet</a:t>
            </a:r>
            <a:r>
              <a:rPr lang="en-GB" altLang="en-US" dirty="0"/>
              <a:t>-</a:t>
            </a:r>
            <a:r>
              <a:rPr lang="en-GB" altLang="en-US" dirty="0" err="1"/>
              <a:t>geportretteerde</a:t>
            </a:r>
            <a:endParaRPr lang="en-GB" dirty="0"/>
          </a:p>
        </p:txBody>
      </p:sp>
      <p:sp>
        <p:nvSpPr>
          <p:cNvPr id="3" name="Subtitle 1">
            <a:extLst>
              <a:ext uri="{FF2B5EF4-FFF2-40B4-BE49-F238E27FC236}">
                <a16:creationId xmlns:a16="http://schemas.microsoft.com/office/drawing/2014/main" id="{69E50592-996F-446C-8740-DA40B77601A5}"/>
              </a:ext>
            </a:extLst>
          </p:cNvPr>
          <p:cNvSpPr txBox="1">
            <a:spLocks/>
          </p:cNvSpPr>
          <p:nvPr/>
        </p:nvSpPr>
        <p:spPr>
          <a:xfrm>
            <a:off x="576262" y="1518953"/>
            <a:ext cx="9663113"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nl-NL" sz="3600" dirty="0"/>
              <a:t>"</a:t>
            </a:r>
            <a:r>
              <a:rPr lang="nl-NL" sz="3600" i="1" dirty="0"/>
              <a:t>Aan een zo ruime uitleg van het portret-begrip is ook weinig behoefte, ervan uitgaande dat de ‘net-niet-geportretteerde’ zich kan beroepen op art. 6:162 BW en dat de rechtspraak bij afweging van de belangen onder toepassing van de zorgvuldigheidsnormen dan toch tot verantwoorde resultaten kan komen.</a:t>
            </a:r>
            <a:r>
              <a:rPr lang="nl-NL" sz="3600" dirty="0"/>
              <a:t>" </a:t>
            </a:r>
            <a:r>
              <a:rPr lang="nl-NL" sz="3600" baseline="30000" dirty="0"/>
              <a:t>1</a:t>
            </a:r>
            <a:endParaRPr lang="en-GB" sz="3200" baseline="30000" dirty="0"/>
          </a:p>
        </p:txBody>
      </p:sp>
      <p:sp>
        <p:nvSpPr>
          <p:cNvPr id="4" name="Title 4">
            <a:extLst>
              <a:ext uri="{FF2B5EF4-FFF2-40B4-BE49-F238E27FC236}">
                <a16:creationId xmlns:a16="http://schemas.microsoft.com/office/drawing/2014/main" id="{398E540C-1391-4791-A9F4-6A69958F74A9}"/>
              </a:ext>
            </a:extLst>
          </p:cNvPr>
          <p:cNvSpPr txBox="1">
            <a:spLocks/>
          </p:cNvSpPr>
          <p:nvPr/>
        </p:nvSpPr>
        <p:spPr>
          <a:xfrm>
            <a:off x="719931" y="5980557"/>
            <a:ext cx="10752137" cy="720000"/>
          </a:xfrm>
          <a:prstGeom prst="rect">
            <a:avLst/>
          </a:prstGeom>
        </p:spPr>
        <p:txBody>
          <a:bodyPr vert="horz" lIns="0" tIns="0" rIns="0" bIns="0" rtlCol="0" anchor="t" anchorCtr="0">
            <a:noAutofit/>
          </a:bodyPr>
          <a:lst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a:lstStyle>
          <a:p>
            <a:pPr>
              <a:buFontTx/>
            </a:pPr>
            <a:r>
              <a:rPr lang="en-GB" altLang="en-US" sz="2000" dirty="0"/>
              <a:t>1	A-G </a:t>
            </a:r>
            <a:r>
              <a:rPr lang="en-GB" altLang="en-US" sz="2000" dirty="0" err="1"/>
              <a:t>Keus</a:t>
            </a:r>
            <a:r>
              <a:rPr lang="en-GB" altLang="en-US" sz="2000" dirty="0"/>
              <a:t> in </a:t>
            </a:r>
            <a:r>
              <a:rPr lang="en-GB" altLang="en-US" sz="2000" dirty="0" err="1"/>
              <a:t>zijn</a:t>
            </a:r>
            <a:r>
              <a:rPr lang="en-GB" altLang="en-US" sz="2000" dirty="0"/>
              <a:t> </a:t>
            </a:r>
            <a:r>
              <a:rPr lang="en-GB" altLang="en-US" sz="2000" dirty="0" err="1"/>
              <a:t>conclusie</a:t>
            </a:r>
            <a:r>
              <a:rPr lang="en-GB" altLang="en-US" sz="2000" dirty="0"/>
              <a:t> bij het </a:t>
            </a:r>
            <a:r>
              <a:rPr lang="en-GB" altLang="en-US" sz="2000" dirty="0" err="1"/>
              <a:t>Breekijzer</a:t>
            </a:r>
            <a:r>
              <a:rPr lang="en-GB" altLang="en-US" sz="2000" dirty="0"/>
              <a:t>-arrest (HR 2 </a:t>
            </a:r>
            <a:r>
              <a:rPr lang="en-GB" altLang="en-US" sz="2000" dirty="0" err="1"/>
              <a:t>mei</a:t>
            </a:r>
            <a:r>
              <a:rPr lang="en-GB" altLang="en-US" sz="2000" dirty="0"/>
              <a:t> 2003, AMI 2003-5)</a:t>
            </a:r>
            <a:endParaRPr lang="en-GB" sz="2000" dirty="0"/>
          </a:p>
        </p:txBody>
      </p:sp>
    </p:spTree>
    <p:custDataLst>
      <p:tags r:id="rId1"/>
    </p:custDataLst>
    <p:extLst>
      <p:ext uri="{BB962C8B-B14F-4D97-AF65-F5344CB8AC3E}">
        <p14:creationId xmlns:p14="http://schemas.microsoft.com/office/powerpoint/2010/main" val="3385634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6E1D9"/>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Persoonskenmerken</a:t>
            </a:r>
            <a:endParaRPr lang="en-GB" dirty="0"/>
          </a:p>
        </p:txBody>
      </p:sp>
      <p:sp>
        <p:nvSpPr>
          <p:cNvPr id="3" name="Subtitle 1">
            <a:extLst>
              <a:ext uri="{FF2B5EF4-FFF2-40B4-BE49-F238E27FC236}">
                <a16:creationId xmlns:a16="http://schemas.microsoft.com/office/drawing/2014/main" id="{69E50592-996F-446C-8740-DA40B77601A5}"/>
              </a:ext>
            </a:extLst>
          </p:cNvPr>
          <p:cNvSpPr txBox="1">
            <a:spLocks/>
          </p:cNvSpPr>
          <p:nvPr/>
        </p:nvSpPr>
        <p:spPr>
          <a:xfrm>
            <a:off x="576262" y="1518953"/>
            <a:ext cx="9377363"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t>
            </a:r>
            <a:r>
              <a:rPr lang="en-GB" sz="3200" dirty="0" err="1"/>
              <a:t>Gelaat</a:t>
            </a:r>
            <a:r>
              <a:rPr lang="en-GB" sz="3200" dirty="0"/>
              <a:t> </a:t>
            </a:r>
          </a:p>
          <a:p>
            <a:pPr lvl="1"/>
            <a:r>
              <a:rPr lang="en-GB" sz="3200" dirty="0"/>
              <a:t> Stem</a:t>
            </a:r>
          </a:p>
          <a:p>
            <a:pPr lvl="1"/>
            <a:r>
              <a:rPr lang="en-GB" sz="3200" dirty="0"/>
              <a:t> </a:t>
            </a:r>
            <a:r>
              <a:rPr lang="en-GB" sz="3200" dirty="0" err="1"/>
              <a:t>Houding</a:t>
            </a:r>
            <a:endParaRPr lang="en-GB" sz="3200" dirty="0"/>
          </a:p>
          <a:p>
            <a:pPr lvl="1"/>
            <a:r>
              <a:rPr lang="en-GB" sz="3200" dirty="0"/>
              <a:t> </a:t>
            </a:r>
            <a:r>
              <a:rPr lang="en-GB" sz="3200" dirty="0" err="1"/>
              <a:t>Silhouet</a:t>
            </a:r>
            <a:endParaRPr lang="en-GB" sz="3200" dirty="0"/>
          </a:p>
          <a:p>
            <a:pPr lvl="1"/>
            <a:r>
              <a:rPr lang="en-GB" sz="3200" dirty="0"/>
              <a:t> </a:t>
            </a:r>
            <a:r>
              <a:rPr lang="en-GB" sz="3200" dirty="0" err="1"/>
              <a:t>Rugnummer</a:t>
            </a:r>
            <a:endParaRPr lang="en-GB" sz="3200" dirty="0"/>
          </a:p>
        </p:txBody>
      </p:sp>
      <p:pic>
        <p:nvPicPr>
          <p:cNvPr id="4" name="Picture 2" descr="Portretrecht op stemgeluid? Hulk Hogan klaagt autobedrijf aan wegens  imiteren van zijn stem in een reclame. - Mediareport">
            <a:extLst>
              <a:ext uri="{FF2B5EF4-FFF2-40B4-BE49-F238E27FC236}">
                <a16:creationId xmlns:a16="http://schemas.microsoft.com/office/drawing/2014/main" id="{4EDA8BDD-C680-4BCA-B67E-2F92A565EB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9630" y="768305"/>
            <a:ext cx="4229027" cy="238235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Iconische foto van Cruijff die eigenlijk tot het Nationaal erfgoed hoort&lt;br /&gt;&#10;foto: © Guus de Jong">
            <a:extLst>
              <a:ext uri="{FF2B5EF4-FFF2-40B4-BE49-F238E27FC236}">
                <a16:creationId xmlns:a16="http://schemas.microsoft.com/office/drawing/2014/main" id="{E13377C9-9450-4989-B3AF-00DC4DF644E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3478641"/>
            <a:ext cx="4212657" cy="2773101"/>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4923175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6E1D9"/>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Beatrix / </a:t>
            </a:r>
            <a:r>
              <a:rPr lang="en-GB" altLang="en-US" dirty="0" err="1"/>
              <a:t>Monsterboard</a:t>
            </a:r>
            <a:endParaRPr lang="en-GB" dirty="0"/>
          </a:p>
        </p:txBody>
      </p:sp>
      <p:sp>
        <p:nvSpPr>
          <p:cNvPr id="3" name="Subtitle 1">
            <a:extLst>
              <a:ext uri="{FF2B5EF4-FFF2-40B4-BE49-F238E27FC236}">
                <a16:creationId xmlns:a16="http://schemas.microsoft.com/office/drawing/2014/main" id="{69E50592-996F-446C-8740-DA40B77601A5}"/>
              </a:ext>
            </a:extLst>
          </p:cNvPr>
          <p:cNvSpPr txBox="1">
            <a:spLocks/>
          </p:cNvSpPr>
          <p:nvPr/>
        </p:nvSpPr>
        <p:spPr>
          <a:xfrm>
            <a:off x="576263" y="1518953"/>
            <a:ext cx="6553742" cy="4538947"/>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a:t>"</a:t>
            </a:r>
            <a:r>
              <a:rPr lang="nl-NL" sz="3200" i="1" dirty="0"/>
              <a:t>Uitgangspunt is dat in onze samenleving niemand het behoeft te dulden dat zijn persoonlijke karakteristieken tegen zijn wil worden gebruikt ter ondersteuning van commerciële activiteiten van een ander.</a:t>
            </a:r>
            <a:r>
              <a:rPr lang="en-GB" sz="3200" dirty="0"/>
              <a:t>"</a:t>
            </a:r>
          </a:p>
        </p:txBody>
      </p:sp>
      <p:pic>
        <p:nvPicPr>
          <p:cNvPr id="1026" name="Picture 2" descr="Beatrix der Nederlanden - Wikipedia">
            <a:extLst>
              <a:ext uri="{FF2B5EF4-FFF2-40B4-BE49-F238E27FC236}">
                <a16:creationId xmlns:a16="http://schemas.microsoft.com/office/drawing/2014/main" id="{AAC2E5FB-34F0-40D0-ADBE-7A64EA3645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7273" y="896757"/>
            <a:ext cx="3752850" cy="530164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4912571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6E1D9"/>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AVG (</a:t>
            </a:r>
            <a:r>
              <a:rPr lang="en-GB" altLang="en-US" dirty="0" err="1"/>
              <a:t>artikel</a:t>
            </a:r>
            <a:r>
              <a:rPr lang="en-GB" altLang="en-US" dirty="0"/>
              <a:t> 4 lid 1)</a:t>
            </a:r>
            <a:endParaRPr lang="en-GB" dirty="0"/>
          </a:p>
        </p:txBody>
      </p:sp>
      <p:sp>
        <p:nvSpPr>
          <p:cNvPr id="3" name="Subtitle 1">
            <a:extLst>
              <a:ext uri="{FF2B5EF4-FFF2-40B4-BE49-F238E27FC236}">
                <a16:creationId xmlns:a16="http://schemas.microsoft.com/office/drawing/2014/main" id="{69E50592-996F-446C-8740-DA40B77601A5}"/>
              </a:ext>
            </a:extLst>
          </p:cNvPr>
          <p:cNvSpPr txBox="1">
            <a:spLocks/>
          </p:cNvSpPr>
          <p:nvPr/>
        </p:nvSpPr>
        <p:spPr>
          <a:xfrm>
            <a:off x="576262" y="1518953"/>
            <a:ext cx="9377363"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endParaRPr lang="en-GB" sz="3200" dirty="0"/>
          </a:p>
        </p:txBody>
      </p:sp>
      <p:sp>
        <p:nvSpPr>
          <p:cNvPr id="7" name="Subtitle 1">
            <a:extLst>
              <a:ext uri="{FF2B5EF4-FFF2-40B4-BE49-F238E27FC236}">
                <a16:creationId xmlns:a16="http://schemas.microsoft.com/office/drawing/2014/main" id="{52D50911-2650-4218-BAA3-87DFCC6D591D}"/>
              </a:ext>
            </a:extLst>
          </p:cNvPr>
          <p:cNvSpPr txBox="1">
            <a:spLocks/>
          </p:cNvSpPr>
          <p:nvPr/>
        </p:nvSpPr>
        <p:spPr>
          <a:xfrm>
            <a:off x="576261" y="1381126"/>
            <a:ext cx="9377363" cy="5056706"/>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nl-NL" sz="3200" dirty="0"/>
              <a:t>"</a:t>
            </a:r>
            <a:r>
              <a:rPr lang="nl-NL" sz="3200" b="1" u="sng" dirty="0"/>
              <a:t>persoonsgegevens</a:t>
            </a:r>
            <a:r>
              <a:rPr lang="nl-NL" sz="3200" dirty="0"/>
              <a:t>": alle informatie over een (..) natuurlijke persoon (..); als identificeerbaar wordt beschouwd een natuurlijke persoon die direct of indirect kan worden geïdentificeerd, met name aan de hand van (…) een of meer </a:t>
            </a:r>
            <a:r>
              <a:rPr lang="nl-NL" sz="3200" b="1" u="sng" dirty="0"/>
              <a:t>elementen die kenmerkend zijn voor de fysieke</a:t>
            </a:r>
            <a:r>
              <a:rPr lang="nl-NL" sz="3200" dirty="0"/>
              <a:t>, fysiologische, genetische, psychische, economische, culturele of sociale </a:t>
            </a:r>
            <a:r>
              <a:rPr lang="nl-NL" sz="3200" b="1" u="sng" dirty="0"/>
              <a:t>identiteit van die natuurlijke persoon</a:t>
            </a:r>
            <a:r>
              <a:rPr lang="nl-NL" sz="3200" dirty="0"/>
              <a:t>;</a:t>
            </a:r>
            <a:endParaRPr lang="en-GB" sz="3200" dirty="0"/>
          </a:p>
        </p:txBody>
      </p:sp>
    </p:spTree>
    <p:custDataLst>
      <p:tags r:id="rId1"/>
    </p:custDataLst>
    <p:extLst>
      <p:ext uri="{BB962C8B-B14F-4D97-AF65-F5344CB8AC3E}">
        <p14:creationId xmlns:p14="http://schemas.microsoft.com/office/powerpoint/2010/main" val="410299947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6E1D9"/>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AVG (</a:t>
            </a:r>
            <a:r>
              <a:rPr lang="en-GB" altLang="en-US" dirty="0" err="1"/>
              <a:t>artikel</a:t>
            </a:r>
            <a:r>
              <a:rPr lang="en-GB" altLang="en-US" dirty="0"/>
              <a:t> 6 lid 1 sub AVG)</a:t>
            </a:r>
            <a:endParaRPr lang="en-GB" dirty="0"/>
          </a:p>
        </p:txBody>
      </p:sp>
      <p:sp>
        <p:nvSpPr>
          <p:cNvPr id="3" name="Subtitle 1">
            <a:extLst>
              <a:ext uri="{FF2B5EF4-FFF2-40B4-BE49-F238E27FC236}">
                <a16:creationId xmlns:a16="http://schemas.microsoft.com/office/drawing/2014/main" id="{69E50592-996F-446C-8740-DA40B77601A5}"/>
              </a:ext>
            </a:extLst>
          </p:cNvPr>
          <p:cNvSpPr txBox="1">
            <a:spLocks/>
          </p:cNvSpPr>
          <p:nvPr/>
        </p:nvSpPr>
        <p:spPr>
          <a:xfrm>
            <a:off x="576262" y="1547829"/>
            <a:ext cx="9377363" cy="470057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nl-NL" sz="3200" dirty="0"/>
              <a:t>De verwerking is rechtmatig indien:</a:t>
            </a:r>
          </a:p>
          <a:p>
            <a:pPr marL="0" lvl="1" indent="0">
              <a:buNone/>
            </a:pPr>
            <a:r>
              <a:rPr lang="nl-NL" sz="3200" dirty="0"/>
              <a:t>de verwerking noodzakelijk is voor de behartiging van de </a:t>
            </a:r>
            <a:r>
              <a:rPr lang="nl-NL" sz="3200" b="1" u="sng" dirty="0"/>
              <a:t>gerechtvaardigde belangen van de verwerkingsverantwoordelijke</a:t>
            </a:r>
            <a:r>
              <a:rPr lang="nl-NL" sz="3200" dirty="0"/>
              <a:t> of van een derde, behalve wanneer de </a:t>
            </a:r>
            <a:r>
              <a:rPr lang="nl-NL" sz="3200" b="1" u="sng" dirty="0"/>
              <a:t>belangen of de grondrechten en de fundamentele vrijheden van de betrokkene</a:t>
            </a:r>
            <a:r>
              <a:rPr lang="nl-NL" sz="3200" dirty="0"/>
              <a:t> die tot bescherming van persoonsgegevens nopen, zwaarder wegen dan die belangen, (..).</a:t>
            </a:r>
          </a:p>
          <a:p>
            <a:pPr lvl="1"/>
            <a:endParaRPr lang="en-GB" sz="3200" dirty="0"/>
          </a:p>
        </p:txBody>
      </p:sp>
    </p:spTree>
    <p:custDataLst>
      <p:tags r:id="rId1"/>
    </p:custDataLst>
    <p:extLst>
      <p:ext uri="{BB962C8B-B14F-4D97-AF65-F5344CB8AC3E}">
        <p14:creationId xmlns:p14="http://schemas.microsoft.com/office/powerpoint/2010/main" val="26949617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6E1D9"/>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Een</a:t>
            </a:r>
            <a:r>
              <a:rPr lang="en-GB" altLang="en-US" dirty="0"/>
              <a:t> </a:t>
            </a:r>
            <a:r>
              <a:rPr lang="en-GB" altLang="en-US" dirty="0" err="1"/>
              <a:t>vreemde</a:t>
            </a:r>
            <a:r>
              <a:rPr lang="en-GB" altLang="en-US" dirty="0"/>
              <a:t> </a:t>
            </a:r>
            <a:r>
              <a:rPr lang="en-GB" altLang="en-US" dirty="0" err="1"/>
              <a:t>eend</a:t>
            </a:r>
            <a:r>
              <a:rPr lang="en-GB" altLang="en-US" dirty="0"/>
              <a:t> in de </a:t>
            </a:r>
            <a:r>
              <a:rPr lang="en-GB" altLang="en-US" dirty="0" err="1"/>
              <a:t>bijt</a:t>
            </a:r>
            <a:endParaRPr lang="en-GB" dirty="0"/>
          </a:p>
        </p:txBody>
      </p:sp>
      <p:sp>
        <p:nvSpPr>
          <p:cNvPr id="4" name="Subtitle 1">
            <a:extLst>
              <a:ext uri="{FF2B5EF4-FFF2-40B4-BE49-F238E27FC236}">
                <a16:creationId xmlns:a16="http://schemas.microsoft.com/office/drawing/2014/main" id="{476BAF66-648B-4A1D-A217-A245B8E6D061}"/>
              </a:ext>
            </a:extLst>
          </p:cNvPr>
          <p:cNvSpPr txBox="1">
            <a:spLocks/>
          </p:cNvSpPr>
          <p:nvPr/>
        </p:nvSpPr>
        <p:spPr>
          <a:xfrm>
            <a:off x="576262" y="1518953"/>
            <a:ext cx="9825038"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t>
            </a:r>
            <a:r>
              <a:rPr lang="en-GB" sz="3200" dirty="0" err="1"/>
              <a:t>Geen</a:t>
            </a:r>
            <a:r>
              <a:rPr lang="en-GB" sz="3200" dirty="0"/>
              <a:t> </a:t>
            </a:r>
            <a:r>
              <a:rPr lang="en-GB" sz="3200" dirty="0" err="1"/>
              <a:t>auteursrecht</a:t>
            </a:r>
            <a:endParaRPr lang="en-GB" sz="3200" dirty="0"/>
          </a:p>
          <a:p>
            <a:pPr lvl="1"/>
            <a:r>
              <a:rPr lang="en-GB" sz="3200" dirty="0"/>
              <a:t> </a:t>
            </a:r>
            <a:r>
              <a:rPr lang="en-GB" sz="3200" dirty="0" err="1"/>
              <a:t>Geen</a:t>
            </a:r>
            <a:r>
              <a:rPr lang="en-GB" sz="3200" dirty="0"/>
              <a:t> </a:t>
            </a:r>
            <a:r>
              <a:rPr lang="en-GB" sz="3200" dirty="0" err="1"/>
              <a:t>absoluut</a:t>
            </a:r>
            <a:r>
              <a:rPr lang="en-GB" sz="3200" dirty="0"/>
              <a:t> </a:t>
            </a:r>
            <a:r>
              <a:rPr lang="en-GB" sz="3200" dirty="0" err="1"/>
              <a:t>recht</a:t>
            </a:r>
            <a:endParaRPr lang="en-GB" sz="3200" dirty="0"/>
          </a:p>
          <a:p>
            <a:pPr lvl="1"/>
            <a:r>
              <a:rPr lang="en-GB" sz="3200" dirty="0"/>
              <a:t> </a:t>
            </a:r>
            <a:r>
              <a:rPr lang="en-GB" sz="3200" dirty="0" err="1"/>
              <a:t>Geen</a:t>
            </a:r>
            <a:r>
              <a:rPr lang="en-GB" sz="3200" dirty="0"/>
              <a:t> </a:t>
            </a:r>
            <a:r>
              <a:rPr lang="en-GB" sz="3200" dirty="0" err="1"/>
              <a:t>zelfbeschikkingsrecht</a:t>
            </a:r>
            <a:endParaRPr lang="en-GB" sz="3200" dirty="0"/>
          </a:p>
          <a:p>
            <a:pPr lvl="1"/>
            <a:r>
              <a:rPr lang="en-GB" sz="3200" dirty="0"/>
              <a:t> </a:t>
            </a:r>
            <a:r>
              <a:rPr lang="en-GB" sz="3200" dirty="0" err="1"/>
              <a:t>Een</a:t>
            </a:r>
            <a:r>
              <a:rPr lang="en-GB" sz="3200" dirty="0"/>
              <a:t> </a:t>
            </a:r>
            <a:r>
              <a:rPr lang="en-GB" sz="3200" dirty="0" err="1"/>
              <a:t>subjectief</a:t>
            </a:r>
            <a:r>
              <a:rPr lang="en-GB" sz="3200" dirty="0"/>
              <a:t> en </a:t>
            </a:r>
            <a:r>
              <a:rPr lang="en-GB" sz="3200" dirty="0" err="1"/>
              <a:t>relatief</a:t>
            </a:r>
            <a:r>
              <a:rPr lang="en-GB" sz="3200" dirty="0"/>
              <a:t> </a:t>
            </a:r>
            <a:r>
              <a:rPr lang="en-GB" sz="3200" dirty="0" err="1"/>
              <a:t>persoonlijkheidsrecht</a:t>
            </a:r>
            <a:r>
              <a:rPr lang="en-GB" sz="3200" dirty="0"/>
              <a:t>?</a:t>
            </a:r>
          </a:p>
        </p:txBody>
      </p:sp>
    </p:spTree>
    <p:custDataLst>
      <p:tags r:id="rId1"/>
    </p:custDataLst>
    <p:extLst>
      <p:ext uri="{BB962C8B-B14F-4D97-AF65-F5344CB8AC3E}">
        <p14:creationId xmlns:p14="http://schemas.microsoft.com/office/powerpoint/2010/main" val="7559101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FFED7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Stelling 4</a:t>
            </a:r>
            <a:endParaRPr lang="en-GB" dirty="0"/>
          </a:p>
        </p:txBody>
      </p:sp>
      <p:sp>
        <p:nvSpPr>
          <p:cNvPr id="3" name="Subtitle 1">
            <a:extLst>
              <a:ext uri="{FF2B5EF4-FFF2-40B4-BE49-F238E27FC236}">
                <a16:creationId xmlns:a16="http://schemas.microsoft.com/office/drawing/2014/main" id="{BDBC01D3-B6FB-4FD6-86C5-1A1171FC98C7}"/>
              </a:ext>
            </a:extLst>
          </p:cNvPr>
          <p:cNvSpPr txBox="1">
            <a:spLocks/>
          </p:cNvSpPr>
          <p:nvPr/>
        </p:nvSpPr>
        <p:spPr>
          <a:xfrm>
            <a:off x="576262" y="1518953"/>
            <a:ext cx="5110164"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a:t>Artikel 21 </a:t>
            </a:r>
            <a:r>
              <a:rPr lang="en-GB" sz="3200" dirty="0" err="1"/>
              <a:t>Auteurswet</a:t>
            </a:r>
            <a:r>
              <a:rPr lang="en-GB" sz="3200" dirty="0"/>
              <a:t> </a:t>
            </a:r>
            <a:r>
              <a:rPr lang="en-GB" sz="3200" dirty="0" err="1"/>
              <a:t>heeft</a:t>
            </a:r>
            <a:r>
              <a:rPr lang="en-GB" sz="3200" dirty="0"/>
              <a:t> </a:t>
            </a:r>
            <a:r>
              <a:rPr lang="en-GB" sz="3200" dirty="0" err="1"/>
              <a:t>naast</a:t>
            </a:r>
            <a:r>
              <a:rPr lang="en-GB" sz="3200" dirty="0"/>
              <a:t> de op basis van </a:t>
            </a:r>
            <a:r>
              <a:rPr lang="en-GB" sz="3200" dirty="0" err="1"/>
              <a:t>artikel</a:t>
            </a:r>
            <a:r>
              <a:rPr lang="en-GB" sz="3200" dirty="0"/>
              <a:t> 8 en 10 EVRM </a:t>
            </a:r>
            <a:r>
              <a:rPr lang="en-GB" sz="3200" dirty="0" err="1"/>
              <a:t>ontwikkelde</a:t>
            </a:r>
            <a:r>
              <a:rPr lang="en-GB" sz="3200" dirty="0"/>
              <a:t> </a:t>
            </a:r>
            <a:r>
              <a:rPr lang="en-GB" sz="3200" dirty="0" err="1"/>
              <a:t>rechtspraak</a:t>
            </a:r>
            <a:r>
              <a:rPr lang="en-GB" sz="3200" dirty="0"/>
              <a:t> </a:t>
            </a:r>
            <a:r>
              <a:rPr lang="en-GB" sz="3200" dirty="0" err="1"/>
              <a:t>geen</a:t>
            </a:r>
            <a:r>
              <a:rPr lang="en-GB" sz="3200" dirty="0"/>
              <a:t> </a:t>
            </a:r>
            <a:r>
              <a:rPr lang="en-GB" sz="3200" dirty="0" err="1"/>
              <a:t>toegevoegde</a:t>
            </a:r>
            <a:r>
              <a:rPr lang="en-GB" sz="3200" dirty="0"/>
              <a:t> </a:t>
            </a:r>
            <a:r>
              <a:rPr lang="en-GB" sz="3200" dirty="0" err="1"/>
              <a:t>waarde</a:t>
            </a:r>
            <a:r>
              <a:rPr lang="en-GB" sz="3200" dirty="0"/>
              <a:t> en </a:t>
            </a:r>
            <a:r>
              <a:rPr lang="en-GB" sz="3200" dirty="0" err="1"/>
              <a:t>kan</a:t>
            </a:r>
            <a:r>
              <a:rPr lang="en-GB" sz="3200" dirty="0"/>
              <a:t> </a:t>
            </a:r>
            <a:r>
              <a:rPr lang="en-GB" sz="3200" dirty="0" err="1"/>
              <a:t>worden</a:t>
            </a:r>
            <a:r>
              <a:rPr lang="en-GB" sz="3200" dirty="0"/>
              <a:t> </a:t>
            </a:r>
            <a:r>
              <a:rPr lang="en-GB" sz="3200" dirty="0" err="1"/>
              <a:t>geschrapt</a:t>
            </a:r>
            <a:r>
              <a:rPr lang="en-GB" sz="3200" dirty="0"/>
              <a:t>.</a:t>
            </a:r>
          </a:p>
        </p:txBody>
      </p:sp>
      <p:pic>
        <p:nvPicPr>
          <p:cNvPr id="6" name="Picture 5">
            <a:extLst>
              <a:ext uri="{FF2B5EF4-FFF2-40B4-BE49-F238E27FC236}">
                <a16:creationId xmlns:a16="http://schemas.microsoft.com/office/drawing/2014/main" id="{2D1F3F7C-0700-4FA0-B9F4-9AF779A59725}"/>
              </a:ext>
            </a:extLst>
          </p:cNvPr>
          <p:cNvPicPr>
            <a:picLocks noChangeAspect="1"/>
          </p:cNvPicPr>
          <p:nvPr/>
        </p:nvPicPr>
        <p:blipFill>
          <a:blip r:embed="rId3"/>
          <a:stretch>
            <a:fillRect/>
          </a:stretch>
        </p:blipFill>
        <p:spPr>
          <a:xfrm>
            <a:off x="6313175" y="1400175"/>
            <a:ext cx="4778899" cy="4103620"/>
          </a:xfrm>
          <a:prstGeom prst="rect">
            <a:avLst/>
          </a:prstGeom>
        </p:spPr>
      </p:pic>
    </p:spTree>
    <p:custDataLst>
      <p:tags r:id="rId1"/>
    </p:custDataLst>
    <p:extLst>
      <p:ext uri="{BB962C8B-B14F-4D97-AF65-F5344CB8AC3E}">
        <p14:creationId xmlns:p14="http://schemas.microsoft.com/office/powerpoint/2010/main" val="2672805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C2D5F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Ontwikkeling</a:t>
            </a:r>
            <a:r>
              <a:rPr lang="en-GB" altLang="en-US" dirty="0"/>
              <a:t> </a:t>
            </a:r>
            <a:r>
              <a:rPr lang="en-GB" altLang="en-US" dirty="0" err="1"/>
              <a:t>portretbegrip</a:t>
            </a:r>
            <a:endParaRPr lang="en-GB" dirty="0"/>
          </a:p>
        </p:txBody>
      </p:sp>
      <p:sp>
        <p:nvSpPr>
          <p:cNvPr id="3" name="Subtitle 1">
            <a:extLst>
              <a:ext uri="{FF2B5EF4-FFF2-40B4-BE49-F238E27FC236}">
                <a16:creationId xmlns:a16="http://schemas.microsoft.com/office/drawing/2014/main" id="{69E50592-996F-446C-8740-DA40B77601A5}"/>
              </a:ext>
            </a:extLst>
          </p:cNvPr>
          <p:cNvSpPr txBox="1">
            <a:spLocks/>
          </p:cNvSpPr>
          <p:nvPr/>
        </p:nvSpPr>
        <p:spPr>
          <a:xfrm>
            <a:off x="576262" y="1518953"/>
            <a:ext cx="10002999" cy="5043777"/>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t>
            </a:r>
          </a:p>
        </p:txBody>
      </p:sp>
      <p:pic>
        <p:nvPicPr>
          <p:cNvPr id="3074" name="Picture 2" descr="Zuster Klivia (1968) - Andy - LastDodo">
            <a:extLst>
              <a:ext uri="{FF2B5EF4-FFF2-40B4-BE49-F238E27FC236}">
                <a16:creationId xmlns:a16="http://schemas.microsoft.com/office/drawing/2014/main" id="{AE338287-EE2F-4903-A40F-EBFAA048F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480" y="2694295"/>
            <a:ext cx="1368883" cy="2238375"/>
          </a:xfrm>
          <a:prstGeom prst="rect">
            <a:avLst/>
          </a:prstGeom>
          <a:noFill/>
          <a:extLst>
            <a:ext uri="{909E8E84-426E-40DD-AFC4-6F175D3DCCD1}">
              <a14:hiddenFill xmlns:a14="http://schemas.microsoft.com/office/drawing/2010/main">
                <a:solidFill>
                  <a:srgbClr val="FFFFFF"/>
                </a:solidFill>
              </a14:hiddenFill>
            </a:ext>
          </a:extLst>
        </p:spPr>
      </p:pic>
      <p:sp>
        <p:nvSpPr>
          <p:cNvPr id="2" name="Arrow: Right 1">
            <a:extLst>
              <a:ext uri="{FF2B5EF4-FFF2-40B4-BE49-F238E27FC236}">
                <a16:creationId xmlns:a16="http://schemas.microsoft.com/office/drawing/2014/main" id="{AD14300E-E72E-40C1-ACF2-49C6F4F06620}"/>
              </a:ext>
            </a:extLst>
          </p:cNvPr>
          <p:cNvSpPr/>
          <p:nvPr/>
        </p:nvSpPr>
        <p:spPr>
          <a:xfrm>
            <a:off x="2468784" y="3482487"/>
            <a:ext cx="733425" cy="58578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pic>
        <p:nvPicPr>
          <p:cNvPr id="6" name="Picture 5">
            <a:extLst>
              <a:ext uri="{FF2B5EF4-FFF2-40B4-BE49-F238E27FC236}">
                <a16:creationId xmlns:a16="http://schemas.microsoft.com/office/drawing/2014/main" id="{5E649EDD-4239-479C-A0DA-EF43D6F241F2}"/>
              </a:ext>
            </a:extLst>
          </p:cNvPr>
          <p:cNvPicPr>
            <a:picLocks noChangeAspect="1"/>
          </p:cNvPicPr>
          <p:nvPr/>
        </p:nvPicPr>
        <p:blipFill>
          <a:blip r:embed="rId4"/>
          <a:stretch>
            <a:fillRect/>
          </a:stretch>
        </p:blipFill>
        <p:spPr>
          <a:xfrm>
            <a:off x="3311630" y="2694294"/>
            <a:ext cx="1714719" cy="2238375"/>
          </a:xfrm>
          <a:prstGeom prst="rect">
            <a:avLst/>
          </a:prstGeom>
        </p:spPr>
      </p:pic>
      <p:sp>
        <p:nvSpPr>
          <p:cNvPr id="8" name="Arrow: Right 7">
            <a:extLst>
              <a:ext uri="{FF2B5EF4-FFF2-40B4-BE49-F238E27FC236}">
                <a16:creationId xmlns:a16="http://schemas.microsoft.com/office/drawing/2014/main" id="{0D7F2EF8-1AF3-42FA-A824-DAB0E3D92C48}"/>
              </a:ext>
            </a:extLst>
          </p:cNvPr>
          <p:cNvSpPr/>
          <p:nvPr/>
        </p:nvSpPr>
        <p:spPr>
          <a:xfrm>
            <a:off x="5135770" y="3520586"/>
            <a:ext cx="733425" cy="58578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pic>
        <p:nvPicPr>
          <p:cNvPr id="11" name="Picture 10">
            <a:extLst>
              <a:ext uri="{FF2B5EF4-FFF2-40B4-BE49-F238E27FC236}">
                <a16:creationId xmlns:a16="http://schemas.microsoft.com/office/drawing/2014/main" id="{8104EA7F-9300-402A-94AC-966F54F99A46}"/>
              </a:ext>
            </a:extLst>
          </p:cNvPr>
          <p:cNvPicPr>
            <a:picLocks noChangeAspect="1"/>
          </p:cNvPicPr>
          <p:nvPr/>
        </p:nvPicPr>
        <p:blipFill>
          <a:blip r:embed="rId5"/>
          <a:stretch>
            <a:fillRect/>
          </a:stretch>
        </p:blipFill>
        <p:spPr>
          <a:xfrm>
            <a:off x="8704613" y="2701672"/>
            <a:ext cx="1732532" cy="2240660"/>
          </a:xfrm>
          <a:prstGeom prst="rect">
            <a:avLst/>
          </a:prstGeom>
        </p:spPr>
      </p:pic>
      <p:sp>
        <p:nvSpPr>
          <p:cNvPr id="14" name="Arrow: Right 13">
            <a:extLst>
              <a:ext uri="{FF2B5EF4-FFF2-40B4-BE49-F238E27FC236}">
                <a16:creationId xmlns:a16="http://schemas.microsoft.com/office/drawing/2014/main" id="{F05AA16A-BABA-4A0D-B9AC-37C9E7E43CCC}"/>
              </a:ext>
            </a:extLst>
          </p:cNvPr>
          <p:cNvSpPr/>
          <p:nvPr/>
        </p:nvSpPr>
        <p:spPr>
          <a:xfrm>
            <a:off x="7813984" y="3520585"/>
            <a:ext cx="733425" cy="585789"/>
          </a:xfrm>
          <a:prstGeom prst="rightArrow">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nl-NL" sz="1400" dirty="0">
              <a:solidFill>
                <a:schemeClr val="tx1"/>
              </a:solidFill>
            </a:endParaRPr>
          </a:p>
        </p:txBody>
      </p:sp>
      <p:pic>
        <p:nvPicPr>
          <p:cNvPr id="13" name="Picture 12">
            <a:extLst>
              <a:ext uri="{FF2B5EF4-FFF2-40B4-BE49-F238E27FC236}">
                <a16:creationId xmlns:a16="http://schemas.microsoft.com/office/drawing/2014/main" id="{7EB5718F-F2D7-4A73-85AF-14B4C07220A0}"/>
              </a:ext>
            </a:extLst>
          </p:cNvPr>
          <p:cNvPicPr>
            <a:picLocks noChangeAspect="1"/>
          </p:cNvPicPr>
          <p:nvPr/>
        </p:nvPicPr>
        <p:blipFill>
          <a:blip r:embed="rId6"/>
          <a:stretch>
            <a:fillRect/>
          </a:stretch>
        </p:blipFill>
        <p:spPr>
          <a:xfrm>
            <a:off x="5978166" y="2694293"/>
            <a:ext cx="1678614" cy="2248039"/>
          </a:xfrm>
          <a:prstGeom prst="rect">
            <a:avLst/>
          </a:prstGeom>
        </p:spPr>
      </p:pic>
      <p:sp>
        <p:nvSpPr>
          <p:cNvPr id="18" name="Text Placeholder 5">
            <a:extLst>
              <a:ext uri="{FF2B5EF4-FFF2-40B4-BE49-F238E27FC236}">
                <a16:creationId xmlns:a16="http://schemas.microsoft.com/office/drawing/2014/main" id="{2D231D4E-289C-4BCA-861B-41AFA102F9D9}"/>
              </a:ext>
            </a:extLst>
          </p:cNvPr>
          <p:cNvSpPr txBox="1">
            <a:spLocks/>
          </p:cNvSpPr>
          <p:nvPr/>
        </p:nvSpPr>
        <p:spPr>
          <a:xfrm>
            <a:off x="548228" y="5076353"/>
            <a:ext cx="2259234" cy="720000"/>
          </a:xfrm>
          <a:prstGeom prst="roundRect">
            <a:avLst>
              <a:gd name="adj" fmla="val 50000"/>
            </a:avLst>
          </a:prstGeom>
          <a:solidFill>
            <a:schemeClr val="accent2"/>
          </a:solidFill>
        </p:spPr>
        <p:txBody>
          <a:bodyPr vert="horz" lIns="108000" tIns="72000" rIns="108000" bIns="72000" rtlCol="0" anchor="ctr" anchorCtr="0">
            <a:noAutofit/>
          </a:bodyPr>
          <a:lstStyle>
            <a:defPPr>
              <a:defRPr lang="en-US"/>
            </a:defPPr>
            <a:lvl1pPr algn="ctr">
              <a:defRPr sz="1400">
                <a:latin typeface="+mj-lt"/>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r>
              <a:rPr lang="en-ZA" sz="1600" dirty="0" err="1"/>
              <a:t>Ja</a:t>
            </a:r>
            <a:r>
              <a:rPr lang="en-ZA" sz="1600" dirty="0"/>
              <a:t> </a:t>
            </a:r>
            <a:r>
              <a:rPr lang="en-ZA" sz="1600" dirty="0" err="1"/>
              <a:t>zuster</a:t>
            </a:r>
            <a:r>
              <a:rPr lang="en-ZA" sz="1600" dirty="0"/>
              <a:t> nee </a:t>
            </a:r>
            <a:r>
              <a:rPr lang="en-ZA" sz="1600" dirty="0" err="1"/>
              <a:t>zuster</a:t>
            </a:r>
            <a:endParaRPr lang="en-ZA" sz="1600" dirty="0"/>
          </a:p>
        </p:txBody>
      </p:sp>
      <p:sp>
        <p:nvSpPr>
          <p:cNvPr id="19" name="Text Placeholder 5">
            <a:extLst>
              <a:ext uri="{FF2B5EF4-FFF2-40B4-BE49-F238E27FC236}">
                <a16:creationId xmlns:a16="http://schemas.microsoft.com/office/drawing/2014/main" id="{2718F168-1AE5-4711-BF48-9A10107A9C95}"/>
              </a:ext>
            </a:extLst>
          </p:cNvPr>
          <p:cNvSpPr txBox="1">
            <a:spLocks/>
          </p:cNvSpPr>
          <p:nvPr/>
        </p:nvSpPr>
        <p:spPr>
          <a:xfrm>
            <a:off x="3039372" y="5101145"/>
            <a:ext cx="2259234" cy="720000"/>
          </a:xfrm>
          <a:prstGeom prst="roundRect">
            <a:avLst>
              <a:gd name="adj" fmla="val 50000"/>
            </a:avLst>
          </a:prstGeom>
          <a:solidFill>
            <a:schemeClr val="accent2"/>
          </a:solidFill>
        </p:spPr>
        <p:txBody>
          <a:bodyPr vert="horz" lIns="108000" tIns="72000" rIns="108000" bIns="72000" rtlCol="0" anchor="ctr" anchorCtr="0">
            <a:noAutofit/>
          </a:bodyPr>
          <a:lstStyle>
            <a:defPPr>
              <a:defRPr lang="en-US"/>
            </a:defPPr>
            <a:lvl1pPr algn="ctr">
              <a:defRPr sz="1400">
                <a:latin typeface="+mj-lt"/>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r>
              <a:rPr lang="en-ZA" sz="1600" dirty="0" err="1"/>
              <a:t>Naturiste</a:t>
            </a:r>
            <a:endParaRPr lang="en-ZA" sz="1600" dirty="0"/>
          </a:p>
        </p:txBody>
      </p:sp>
      <p:sp>
        <p:nvSpPr>
          <p:cNvPr id="20" name="Text Placeholder 5">
            <a:extLst>
              <a:ext uri="{FF2B5EF4-FFF2-40B4-BE49-F238E27FC236}">
                <a16:creationId xmlns:a16="http://schemas.microsoft.com/office/drawing/2014/main" id="{3532448F-B29F-4B00-BD42-F8AF744B4EFF}"/>
              </a:ext>
            </a:extLst>
          </p:cNvPr>
          <p:cNvSpPr txBox="1">
            <a:spLocks/>
          </p:cNvSpPr>
          <p:nvPr/>
        </p:nvSpPr>
        <p:spPr>
          <a:xfrm>
            <a:off x="5687856" y="5101145"/>
            <a:ext cx="2259234" cy="720000"/>
          </a:xfrm>
          <a:prstGeom prst="roundRect">
            <a:avLst>
              <a:gd name="adj" fmla="val 50000"/>
            </a:avLst>
          </a:prstGeom>
          <a:solidFill>
            <a:schemeClr val="accent2"/>
          </a:solidFill>
        </p:spPr>
        <p:txBody>
          <a:bodyPr vert="horz" lIns="108000" tIns="72000" rIns="108000" bIns="72000" rtlCol="0" anchor="ctr" anchorCtr="0">
            <a:noAutofit/>
          </a:bodyPr>
          <a:lstStyle>
            <a:defPPr>
              <a:defRPr lang="en-US"/>
            </a:defPPr>
            <a:lvl1pPr algn="ctr">
              <a:defRPr sz="1400">
                <a:latin typeface="+mj-lt"/>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r>
              <a:rPr lang="en-ZA" sz="1600" dirty="0" err="1"/>
              <a:t>Breekijzer</a:t>
            </a:r>
            <a:endParaRPr lang="en-ZA" sz="1600" dirty="0"/>
          </a:p>
        </p:txBody>
      </p:sp>
      <p:sp>
        <p:nvSpPr>
          <p:cNvPr id="21" name="Text Placeholder 5">
            <a:extLst>
              <a:ext uri="{FF2B5EF4-FFF2-40B4-BE49-F238E27FC236}">
                <a16:creationId xmlns:a16="http://schemas.microsoft.com/office/drawing/2014/main" id="{E60BBE93-76B6-45D7-9A90-1F326186C817}"/>
              </a:ext>
            </a:extLst>
          </p:cNvPr>
          <p:cNvSpPr txBox="1">
            <a:spLocks/>
          </p:cNvSpPr>
          <p:nvPr/>
        </p:nvSpPr>
        <p:spPr>
          <a:xfrm>
            <a:off x="8441262" y="5101145"/>
            <a:ext cx="2259234" cy="720000"/>
          </a:xfrm>
          <a:prstGeom prst="roundRect">
            <a:avLst>
              <a:gd name="adj" fmla="val 50000"/>
            </a:avLst>
          </a:prstGeom>
          <a:solidFill>
            <a:schemeClr val="accent2"/>
          </a:solidFill>
        </p:spPr>
        <p:txBody>
          <a:bodyPr vert="horz" lIns="108000" tIns="72000" rIns="108000" bIns="72000" rtlCol="0" anchor="ctr" anchorCtr="0">
            <a:noAutofit/>
          </a:bodyPr>
          <a:lstStyle>
            <a:defPPr>
              <a:defRPr lang="en-US"/>
            </a:defPPr>
            <a:lvl1pPr algn="ctr">
              <a:defRPr sz="1400">
                <a:latin typeface="+mj-lt"/>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r>
              <a:rPr lang="en-ZA" sz="1600" dirty="0"/>
              <a:t>Verstappen</a:t>
            </a:r>
          </a:p>
        </p:txBody>
      </p:sp>
    </p:spTree>
    <p:custDataLst>
      <p:tags r:id="rId1"/>
    </p:custDataLst>
    <p:extLst>
      <p:ext uri="{BB962C8B-B14F-4D97-AF65-F5344CB8AC3E}">
        <p14:creationId xmlns:p14="http://schemas.microsoft.com/office/powerpoint/2010/main" val="41722974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C0DF8A"/>
        </a:solid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22821C8D-6411-44FD-9BD9-8F42F5486670}"/>
              </a:ext>
            </a:extLst>
          </p:cNvPr>
          <p:cNvSpPr>
            <a:spLocks noGrp="1"/>
          </p:cNvSpPr>
          <p:nvPr>
            <p:ph type="ctrTitle"/>
          </p:nvPr>
        </p:nvSpPr>
        <p:spPr>
          <a:xfrm>
            <a:off x="2731284" y="1155701"/>
            <a:ext cx="8018462" cy="3708400"/>
          </a:xfrm>
        </p:spPr>
        <p:txBody>
          <a:bodyPr/>
          <a:lstStyle/>
          <a:p>
            <a:r>
              <a:rPr lang="en-GB" sz="5400" dirty="0"/>
              <a:t>Dank!</a:t>
            </a:r>
            <a:br>
              <a:rPr lang="en-GB" sz="5400" dirty="0"/>
            </a:br>
            <a:br>
              <a:rPr lang="en-GB" sz="5400" dirty="0"/>
            </a:br>
            <a:r>
              <a:rPr lang="en-GB" sz="3600" dirty="0"/>
              <a:t>Olaf Trojan</a:t>
            </a:r>
            <a:br>
              <a:rPr lang="en-GB" sz="3600" dirty="0"/>
            </a:br>
            <a:br>
              <a:rPr lang="en-GB" sz="5400" dirty="0"/>
            </a:br>
            <a:endParaRPr lang="en-GB" sz="5400" dirty="0"/>
          </a:p>
        </p:txBody>
      </p:sp>
    </p:spTree>
    <p:extLst>
      <p:ext uri="{BB962C8B-B14F-4D97-AF65-F5344CB8AC3E}">
        <p14:creationId xmlns:p14="http://schemas.microsoft.com/office/powerpoint/2010/main" val="2961028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C2D5F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Ontwikkeling</a:t>
            </a:r>
            <a:r>
              <a:rPr lang="en-GB" altLang="en-US" dirty="0"/>
              <a:t> </a:t>
            </a:r>
            <a:r>
              <a:rPr lang="en-GB" altLang="en-US" dirty="0" err="1"/>
              <a:t>portretbegrip</a:t>
            </a:r>
            <a:r>
              <a:rPr lang="en-GB" altLang="en-US" dirty="0"/>
              <a:t> (2)</a:t>
            </a:r>
            <a:endParaRPr lang="en-GB" dirty="0"/>
          </a:p>
        </p:txBody>
      </p:sp>
      <p:sp>
        <p:nvSpPr>
          <p:cNvPr id="3" name="Subtitle 1">
            <a:extLst>
              <a:ext uri="{FF2B5EF4-FFF2-40B4-BE49-F238E27FC236}">
                <a16:creationId xmlns:a16="http://schemas.microsoft.com/office/drawing/2014/main" id="{69E50592-996F-446C-8740-DA40B77601A5}"/>
              </a:ext>
            </a:extLst>
          </p:cNvPr>
          <p:cNvSpPr txBox="1">
            <a:spLocks/>
          </p:cNvSpPr>
          <p:nvPr/>
        </p:nvSpPr>
        <p:spPr>
          <a:xfrm>
            <a:off x="576262" y="1518953"/>
            <a:ext cx="4948237" cy="3957921"/>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lvl="1"/>
            <a:r>
              <a:rPr lang="en-GB" sz="3200" dirty="0"/>
              <a:t> </a:t>
            </a:r>
            <a:r>
              <a:rPr lang="en-GB" sz="3200" dirty="0" err="1"/>
              <a:t>Omgevingsfactoren</a:t>
            </a:r>
            <a:endParaRPr lang="en-GB" sz="3200" dirty="0"/>
          </a:p>
          <a:p>
            <a:pPr lvl="1"/>
            <a:r>
              <a:rPr lang="en-GB" sz="3200" dirty="0"/>
              <a:t> Context</a:t>
            </a:r>
          </a:p>
          <a:p>
            <a:pPr lvl="1"/>
            <a:r>
              <a:rPr lang="en-GB" sz="3200" dirty="0"/>
              <a:t> </a:t>
            </a:r>
            <a:r>
              <a:rPr lang="en-GB" sz="3200" dirty="0" err="1"/>
              <a:t>Tenminste</a:t>
            </a:r>
            <a:r>
              <a:rPr lang="en-GB" sz="3200" dirty="0"/>
              <a:t> </a:t>
            </a:r>
            <a:r>
              <a:rPr lang="en-GB" sz="3200" dirty="0" err="1"/>
              <a:t>een</a:t>
            </a:r>
            <a:r>
              <a:rPr lang="en-GB" sz="3200" dirty="0"/>
              <a:t> </a:t>
            </a:r>
            <a:r>
              <a:rPr lang="en-GB" sz="3200" dirty="0" err="1"/>
              <a:t>deel</a:t>
            </a:r>
            <a:r>
              <a:rPr lang="en-GB" sz="3200" dirty="0"/>
              <a:t> van het </a:t>
            </a:r>
            <a:r>
              <a:rPr lang="en-GB" sz="3200" dirty="0" err="1"/>
              <a:t>gelaat</a:t>
            </a:r>
            <a:r>
              <a:rPr lang="en-GB" sz="3200" dirty="0"/>
              <a:t> </a:t>
            </a:r>
            <a:r>
              <a:rPr lang="en-GB" sz="3200" dirty="0" err="1"/>
              <a:t>zichtbaar</a:t>
            </a:r>
            <a:r>
              <a:rPr lang="en-GB" sz="3200" dirty="0"/>
              <a:t>?</a:t>
            </a:r>
          </a:p>
          <a:p>
            <a:pPr lvl="1"/>
            <a:r>
              <a:rPr lang="en-GB" sz="3200" dirty="0"/>
              <a:t> Look-alikes?</a:t>
            </a:r>
          </a:p>
        </p:txBody>
      </p:sp>
      <p:pic>
        <p:nvPicPr>
          <p:cNvPr id="13" name="Picture 4" descr="Iconische foto van Cruijff die eigenlijk tot het Nationaal erfgoed hoort&lt;br /&gt;&#10;foto: © Guus de Jong">
            <a:extLst>
              <a:ext uri="{FF2B5EF4-FFF2-40B4-BE49-F238E27FC236}">
                <a16:creationId xmlns:a16="http://schemas.microsoft.com/office/drawing/2014/main" id="{F9B1FBC2-6EC5-44AA-8D15-578DBD18B0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2748" y="1635392"/>
            <a:ext cx="5835651" cy="384148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817123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Wat is </a:t>
            </a:r>
            <a:r>
              <a:rPr lang="en-GB" altLang="en-US" dirty="0" err="1"/>
              <a:t>een</a:t>
            </a:r>
            <a:r>
              <a:rPr lang="en-GB" altLang="en-US" dirty="0"/>
              <a:t> </a:t>
            </a:r>
            <a:r>
              <a:rPr lang="en-GB" altLang="en-US" dirty="0" err="1"/>
              <a:t>portret</a:t>
            </a:r>
            <a:r>
              <a:rPr lang="en-GB" altLang="en-US" dirty="0"/>
              <a:t> in de zin van </a:t>
            </a:r>
            <a:r>
              <a:rPr lang="en-GB" altLang="en-US" dirty="0" err="1"/>
              <a:t>artikel</a:t>
            </a:r>
            <a:r>
              <a:rPr lang="en-GB" altLang="en-US" dirty="0"/>
              <a:t> 21 Aw?</a:t>
            </a:r>
            <a:endParaRPr lang="en-GB" dirty="0"/>
          </a:p>
        </p:txBody>
      </p:sp>
      <p:pic>
        <p:nvPicPr>
          <p:cNvPr id="5122" name="Picture 2" descr="Portretrecht voor iedereen.">
            <a:extLst>
              <a:ext uri="{FF2B5EF4-FFF2-40B4-BE49-F238E27FC236}">
                <a16:creationId xmlns:a16="http://schemas.microsoft.com/office/drawing/2014/main" id="{8342DD4D-9562-47C4-ABC0-5B3577D6A2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7370" y="1276880"/>
            <a:ext cx="7301905" cy="5057245"/>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6909928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FED71"/>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a:t>Stelling 1: Is </a:t>
            </a:r>
            <a:r>
              <a:rPr lang="en-GB" altLang="en-US" dirty="0" err="1"/>
              <a:t>dit</a:t>
            </a:r>
            <a:r>
              <a:rPr lang="en-GB" altLang="en-US" dirty="0"/>
              <a:t> </a:t>
            </a:r>
            <a:r>
              <a:rPr lang="en-GB" altLang="en-US" dirty="0" err="1"/>
              <a:t>een</a:t>
            </a:r>
            <a:r>
              <a:rPr lang="en-GB" altLang="en-US" dirty="0"/>
              <a:t> </a:t>
            </a:r>
            <a:r>
              <a:rPr lang="en-GB" altLang="en-US" dirty="0" err="1"/>
              <a:t>portret</a:t>
            </a:r>
            <a:r>
              <a:rPr lang="en-GB" altLang="en-US" dirty="0"/>
              <a:t>?</a:t>
            </a:r>
            <a:endParaRPr lang="en-GB" dirty="0"/>
          </a:p>
        </p:txBody>
      </p:sp>
      <p:pic>
        <p:nvPicPr>
          <p:cNvPr id="4" name="Picture 3">
            <a:extLst>
              <a:ext uri="{FF2B5EF4-FFF2-40B4-BE49-F238E27FC236}">
                <a16:creationId xmlns:a16="http://schemas.microsoft.com/office/drawing/2014/main" id="{2395D2E6-83C3-4B93-9AF3-F4873DB4850D}"/>
              </a:ext>
            </a:extLst>
          </p:cNvPr>
          <p:cNvPicPr>
            <a:picLocks noChangeAspect="1"/>
          </p:cNvPicPr>
          <p:nvPr/>
        </p:nvPicPr>
        <p:blipFill>
          <a:blip r:embed="rId3"/>
          <a:stretch>
            <a:fillRect/>
          </a:stretch>
        </p:blipFill>
        <p:spPr>
          <a:xfrm>
            <a:off x="2257064" y="1166802"/>
            <a:ext cx="7569842" cy="5367347"/>
          </a:xfrm>
          <a:prstGeom prst="rect">
            <a:avLst/>
          </a:prstGeom>
        </p:spPr>
      </p:pic>
    </p:spTree>
    <p:custDataLst>
      <p:tags r:id="rId1"/>
    </p:custDataLst>
    <p:extLst>
      <p:ext uri="{BB962C8B-B14F-4D97-AF65-F5344CB8AC3E}">
        <p14:creationId xmlns:p14="http://schemas.microsoft.com/office/powerpoint/2010/main" val="573286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C0DF8A"/>
        </a:solidFill>
        <a:effectLst/>
      </p:bgPr>
    </p:bg>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22821C8D-6411-44FD-9BD9-8F42F5486670}"/>
              </a:ext>
            </a:extLst>
          </p:cNvPr>
          <p:cNvSpPr>
            <a:spLocks noGrp="1"/>
          </p:cNvSpPr>
          <p:nvPr>
            <p:ph type="ctrTitle"/>
          </p:nvPr>
        </p:nvSpPr>
        <p:spPr>
          <a:xfrm>
            <a:off x="2680484" y="1066379"/>
            <a:ext cx="8018462" cy="1444979"/>
          </a:xfrm>
        </p:spPr>
        <p:txBody>
          <a:bodyPr/>
          <a:lstStyle/>
          <a:p>
            <a:r>
              <a:rPr lang="en-GB" sz="5400" dirty="0"/>
              <a:t>Het </a:t>
            </a:r>
            <a:r>
              <a:rPr lang="en-GB" sz="5400" dirty="0" err="1"/>
              <a:t>redelijk</a:t>
            </a:r>
            <a:r>
              <a:rPr lang="en-GB" sz="5400" dirty="0"/>
              <a:t> </a:t>
            </a:r>
            <a:r>
              <a:rPr lang="en-GB" sz="5400" dirty="0" err="1"/>
              <a:t>belang</a:t>
            </a:r>
            <a:endParaRPr lang="en-GB" sz="5400" dirty="0"/>
          </a:p>
        </p:txBody>
      </p:sp>
    </p:spTree>
    <p:extLst>
      <p:ext uri="{BB962C8B-B14F-4D97-AF65-F5344CB8AC3E}">
        <p14:creationId xmlns:p14="http://schemas.microsoft.com/office/powerpoint/2010/main" val="29734070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2C296EC-50C9-4C8B-81E8-DE773E76921C}"/>
              </a:ext>
            </a:extLst>
          </p:cNvPr>
          <p:cNvSpPr>
            <a:spLocks noGrp="1"/>
          </p:cNvSpPr>
          <p:nvPr>
            <p:ph type="title"/>
          </p:nvPr>
        </p:nvSpPr>
        <p:spPr>
          <a:xfrm>
            <a:off x="576262" y="295270"/>
            <a:ext cx="10752137" cy="720000"/>
          </a:xfrm>
        </p:spPr>
        <p:txBody>
          <a:bodyPr/>
          <a:lstStyle/>
          <a:p>
            <a:r>
              <a:rPr lang="en-GB" altLang="en-US" dirty="0" err="1"/>
              <a:t>Vondelparkarrest</a:t>
            </a:r>
            <a:r>
              <a:rPr lang="en-GB" altLang="en-US" dirty="0"/>
              <a:t> (1988)</a:t>
            </a:r>
            <a:endParaRPr lang="en-GB" dirty="0"/>
          </a:p>
        </p:txBody>
      </p:sp>
      <p:pic>
        <p:nvPicPr>
          <p:cNvPr id="22530" name="Picture 2">
            <a:extLst>
              <a:ext uri="{FF2B5EF4-FFF2-40B4-BE49-F238E27FC236}">
                <a16:creationId xmlns:a16="http://schemas.microsoft.com/office/drawing/2014/main" id="{CAC048D9-B39F-4285-B8B3-3F7D62787C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1386" y="1114425"/>
            <a:ext cx="4160639" cy="5448305"/>
          </a:xfrm>
          <a:prstGeom prst="rect">
            <a:avLst/>
          </a:prstGeom>
          <a:noFill/>
          <a:extLst>
            <a:ext uri="{909E8E84-426E-40DD-AFC4-6F175D3DCCD1}">
              <a14:hiddenFill xmlns:a14="http://schemas.microsoft.com/office/drawing/2010/main">
                <a:solidFill>
                  <a:srgbClr val="FFFFFF"/>
                </a:solidFill>
              </a14:hiddenFill>
            </a:ext>
          </a:extLst>
        </p:spPr>
      </p:pic>
      <p:sp>
        <p:nvSpPr>
          <p:cNvPr id="4" name="Subtitle 1">
            <a:extLst>
              <a:ext uri="{FF2B5EF4-FFF2-40B4-BE49-F238E27FC236}">
                <a16:creationId xmlns:a16="http://schemas.microsoft.com/office/drawing/2014/main" id="{6285F7AB-B9ED-4EA6-A469-47913AF8960C}"/>
              </a:ext>
            </a:extLst>
          </p:cNvPr>
          <p:cNvSpPr txBox="1">
            <a:spLocks/>
          </p:cNvSpPr>
          <p:nvPr/>
        </p:nvSpPr>
        <p:spPr>
          <a:xfrm>
            <a:off x="690562" y="1518953"/>
            <a:ext cx="6129338" cy="4919947"/>
          </a:xfrm>
          <a:prstGeom prst="rect">
            <a:avLst/>
          </a:prstGeom>
        </p:spPr>
        <p:txBody>
          <a:bodyPr/>
          <a:lst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a:lstStyle>
          <a:p>
            <a:pPr marL="0" lvl="1" indent="0">
              <a:buNone/>
            </a:pPr>
            <a:r>
              <a:rPr lang="en-GB" sz="3200" dirty="0"/>
              <a:t>I</a:t>
            </a:r>
            <a:r>
              <a:rPr lang="nl-NL" sz="3200" dirty="0" err="1"/>
              <a:t>ndien</a:t>
            </a:r>
            <a:r>
              <a:rPr lang="nl-NL" sz="3200" dirty="0"/>
              <a:t> door de openbaarmaking van een portret inbreuk wordt gemaakt op het recht op eerbiediging van de persoonlijke levenssfeer, is </a:t>
            </a:r>
            <a:r>
              <a:rPr lang="nl-NL" sz="3200" b="1" u="sng" dirty="0"/>
              <a:t>in beginsel sprake van een redelijk belang </a:t>
            </a:r>
            <a:r>
              <a:rPr lang="nl-NL" sz="3200" dirty="0"/>
              <a:t>van de geportretteerde als bedoeld in art. 21 </a:t>
            </a:r>
            <a:r>
              <a:rPr lang="nl-NL" sz="3200" dirty="0" err="1"/>
              <a:t>Aw</a:t>
            </a:r>
            <a:r>
              <a:rPr lang="nl-NL" sz="3200" dirty="0"/>
              <a:t> dat zich tegen die openbaarmaking verzet</a:t>
            </a:r>
            <a:r>
              <a:rPr lang="nl-NL" sz="3600" b="0" i="1" dirty="0">
                <a:solidFill>
                  <a:srgbClr val="005A70"/>
                </a:solidFill>
                <a:effectLst/>
                <a:latin typeface="Open Sans" panose="020B0606030504020204" pitchFamily="34" charset="0"/>
              </a:rPr>
              <a:t>.</a:t>
            </a:r>
            <a:endParaRPr lang="en-GB" sz="3200" dirty="0"/>
          </a:p>
        </p:txBody>
      </p:sp>
    </p:spTree>
    <p:custDataLst>
      <p:tags r:id="rId1"/>
    </p:custDataLst>
    <p:extLst>
      <p:ext uri="{BB962C8B-B14F-4D97-AF65-F5344CB8AC3E}">
        <p14:creationId xmlns:p14="http://schemas.microsoft.com/office/powerpoint/2010/main" val="3228944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IAAAAAAAAAAwAAAAMAAAAA/////wQASwwAAAAAAAAAAAAAIAD///////////////8AAAD///////////////8DAAAAAgD///////////////////////////////////////////////////////////////////////////////////////////////////////////////////////////////////////////////////////////////////////////////////////////////////////////////////////////////////////////////////////////////////////////////////////////////////////////////////////////////////////////////////////////////////////////////////////////////////////////////////////////////////////////////////////////////////////////////////////////////////////////////8BACAA////////////////AAAO////////AwAAAAMA////////////////////////////////////////////////////////////////////////////////////////////////////////////////////////////////////////////////////////////////////////////////////////////////////////////////////////////////////////////////////////////////////////////////////////////////////////////////////////////////////////////////////////////////////////////////////////////////////////////////////////////////////////////////////////////////////////////////////////////////////////////////////////AgABAP///////wQAAAACABAACxXR5USMIo1Bkrn54xwseHwFAAAAAAADAAAAAAADAAAAAwADAAEA////////BAAAAAMAEAALGnb+YUqVWkeVCLpFWmp14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MA////////BAAAAAIA////////BAAAAAIA////////////////////////////////////////////////////////////////////////////////////////////////////////////////////////////////////////////////////////////////////////////////////////////////////////////////////////////////////////////////////////////////////////////////////////////////////////////////////////////////////////////////////////////////////////////////////////////////////////////////////////////////////////////////AQAgAf///////////////wAADv///////wQAAAACAP///////////////////////////////////////////////////////////////////////////////////////////////////////////////////////////////////////////////////////////////////////////////////////////////////////////////////////////////////////////////////////////////////////////////////////////////////////////////////////////////////////////////////////////////////////////////////////////////////////////////////////////////////////////////////////////////////////////////////////////////////////////////////////wIABQEDAAAAAgD///////8aAAZMaW5rZWRTaGFwZXNEYXRhUHJvcGVydHlfMAUAAAAAAAQAAAADAAQAAAABAAQAAAADAP///////wQAAAADAP///////wQAAAAAAP///////wQAAAAA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XR5USMIo1Bkrn54xwseHwDRGF0YQAbAAAABExpbmtlZFNoYXBlRGF0YQAFAAAAAAACTmFtZQAZAAAATGlua2VkU2hhcGVzRGF0YVByb3BlcnR5ABBWZXJzaW9uAAAAAAAJTGFzdFdyaXRlACn7zwJ8AQAAAAEA/////50AnQAAAAVfaWQAEAAAAAQadv5hSpVaR5UIukVaanXjA0RhdGEAKgAAAAhQcmVzZW50YXRpb25TY2FubmVkRm9yTGlua2VkU2hhcGVzAAEAAk5hbWUAJAAAAExpbmtlZFNoYXBlUHJlc2VudGF0aW9uU2V0dGluZ3NEYXRhABBWZXJzaW9uAAAAAAAJTGFzdFdyaXRlAGr7zwJ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WOBIRDSVALID" val="True"/>
  <p:tag name="TWOBIRDSLOGO" val="Standard"/>
  <p:tag name="COLOURTHEME" val="Green"/>
  <p:tag name="DISCLAIMERLANGUAGE" val="English"/>
  <p:tag name="TWOBIRDSOFFICES" val="True"/>
  <p:tag name="ACCOLADENUMBER" val=" 0"/>
  <p:tag name="ACCOLADESINCLUDED" val="False"/>
  <p:tag name="SLIDECOPYRIGHT" val=""/>
  <p:tag name="SLIDEFOOTER" val=""/>
  <p:tag name="SLIDENUMBER" val="False"/>
  <p:tag name="SLIDEDATE" val=""/>
  <p:tag name="TITLESLIDEIMAGEOPTION" val="1"/>
  <p:tag name="TITLESLIDEIMAGE" val="False"/>
  <p:tag name="PRESGUID" val="44654c35-d5e3-4035-a250-8da4cb5b96bb"/>
</p:tagLst>
</file>

<file path=ppt/tags/tag10.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1.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2.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3.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4.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5.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6.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7.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8.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19.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0.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1.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2.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3.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4.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5.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6.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7.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8.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29.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3.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30.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31.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32.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33.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34.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35.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36.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4.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5.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6.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7.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8.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ags/tag9.xml><?xml version="1.0" encoding="utf-8"?>
<p:tagLst xmlns:a="http://schemas.openxmlformats.org/drawingml/2006/main" xmlns:r="http://schemas.openxmlformats.org/officeDocument/2006/relationships" xmlns:p="http://schemas.openxmlformats.org/presentationml/2006/main">
  <p:tag name="SLIDENAME" val="Firm in numbers(opt3)"/>
  <p:tag name="SLIDEDATE" val="26 February 2022"/>
  <p:tag name="SLIDEVERSION" val="1.0"/>
  <p:tag name="SLIDECATEGORY1" val="General"/>
  <p:tag name="SLIDECATEGORY2" val="n/a"/>
  <p:tag name="SLIDECATEGORY3" val="n/a"/>
  <p:tag name="SLIDEAVAILABILITY" val="Yes"/>
  <p:tag name="SLIDECOMMENTS" val=""/>
</p:tagLst>
</file>

<file path=ppt/theme/theme1.xml><?xml version="1.0" encoding="utf-8"?>
<a:theme xmlns:a="http://schemas.openxmlformats.org/drawingml/2006/main" name="Bird &amp; Bird - 16x9">
  <a:themeElements>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fontScheme name="Bird &amp; Bird">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raClrScheme>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extraClrScheme>
    <a:extraClrScheme>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extraClrScheme>
    <a:extraClrScheme>
      <a:clrScheme name="Bird &amp; Bird - Pink">
        <a:dk1>
          <a:srgbClr val="323E48"/>
        </a:dk1>
        <a:lt1>
          <a:sysClr val="window" lastClr="FFFFFF"/>
        </a:lt1>
        <a:dk2>
          <a:srgbClr val="CC3666"/>
        </a:dk2>
        <a:lt2>
          <a:srgbClr val="E4E4E4"/>
        </a:lt2>
        <a:accent1>
          <a:srgbClr val="FFB0BA"/>
        </a:accent1>
        <a:accent2>
          <a:srgbClr val="D19EC7"/>
        </a:accent2>
        <a:accent3>
          <a:srgbClr val="FFA169"/>
        </a:accent3>
        <a:accent4>
          <a:srgbClr val="85ABE3"/>
        </a:accent4>
        <a:accent5>
          <a:srgbClr val="EDC2B2"/>
        </a:accent5>
        <a:accent6>
          <a:srgbClr val="FFE84C"/>
        </a:accent6>
        <a:hlink>
          <a:srgbClr val="CC3666"/>
        </a:hlink>
        <a:folHlink>
          <a:srgbClr val="323E48"/>
        </a:folHlink>
      </a:clrScheme>
    </a:extraClrScheme>
    <a:extraClrScheme>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extraClrScheme>
  </a:extraClrSchemeLst>
  <a:custClrLst>
    <a:custClr name="Lime">
      <a:srgbClr val="C0DF8A"/>
    </a:custClr>
    <a:custClr name="Teal">
      <a:srgbClr val="9FDDD3"/>
    </a:custClr>
    <a:custClr name="Pink">
      <a:srgbClr val="FFB1BA"/>
    </a:custClr>
    <a:custClr name="Lilac">
      <a:srgbClr val="D09EC8"/>
    </a:custClr>
    <a:custClr name="Yellow">
      <a:srgbClr val="FFE84D"/>
    </a:custClr>
    <a:custClr name="Blue">
      <a:srgbClr val="84AAE4"/>
    </a:custClr>
    <a:custClr name="Orange">
      <a:srgbClr val="FFA069"/>
    </a:custClr>
    <a:custClr name="Sand">
      <a:srgbClr val="EDC2B2"/>
    </a:custClr>
    <a:custClr name=" ">
      <a:srgbClr val="FFFFFF"/>
    </a:custClr>
    <a:custClr name=" ">
      <a:srgbClr val="FFFFFF"/>
    </a:custClr>
    <a:custClr name="Lime 80%">
      <a:srgbClr val="CDE5A1"/>
    </a:custClr>
    <a:custClr name="Teal 80%">
      <a:srgbClr val="B2E4DC"/>
    </a:custClr>
    <a:custClr name="Pink 80%">
      <a:srgbClr val="FFC1C8"/>
    </a:custClr>
    <a:custClr name="Lilac 80%">
      <a:srgbClr val="D9B1D3"/>
    </a:custClr>
    <a:custClr name="Yellow 80%">
      <a:srgbClr val="FFED71"/>
    </a:custClr>
    <a:custClr name="Blue 80%">
      <a:srgbClr val="9DBBE9"/>
    </a:custClr>
    <a:custClr name="Orange 80%">
      <a:srgbClr val="FFB387"/>
    </a:custClr>
    <a:custClr name="Sand 80%">
      <a:srgbClr val="F1CEC1"/>
    </a:custClr>
    <a:custClr name=" ">
      <a:srgbClr val="FFFFFF"/>
    </a:custClr>
    <a:custClr name=" ">
      <a:srgbClr val="FFFFFF"/>
    </a:custClr>
    <a:custClr name="Lime 50%">
      <a:srgbClr val="E0EFC5"/>
    </a:custClr>
    <a:custClr name="Teal 50%">
      <a:srgbClr val="CFEEE9"/>
    </a:custClr>
    <a:custClr name="Pink 50%">
      <a:srgbClr val="FFD8DD"/>
    </a:custClr>
    <a:custClr name="Lilac 50%">
      <a:srgbClr val="E8CFE4"/>
    </a:custClr>
    <a:custClr name="Yellow 50%">
      <a:srgbClr val="FFF4A6"/>
    </a:custClr>
    <a:custClr name="Blue 50%">
      <a:srgbClr val="C2D5F2"/>
    </a:custClr>
    <a:custClr name="Orange 50%">
      <a:srgbClr val="FFD0B4"/>
    </a:custClr>
    <a:custClr name="Sand 50%">
      <a:srgbClr val="F6E1D9"/>
    </a:custClr>
    <a:custClr name=" ">
      <a:srgbClr val="FFFFFF"/>
    </a:custClr>
    <a:custClr name=" ">
      <a:srgbClr val="FFFFFF"/>
    </a:custClr>
    <a:custClr name="Lime 30%">
      <a:srgbClr val="ECF5DC"/>
    </a:custClr>
    <a:custClr name="Teal 30%">
      <a:srgbClr val="E2F5F2"/>
    </a:custClr>
    <a:custClr name="Pink 30%">
      <a:srgbClr val="FFE8EA"/>
    </a:custClr>
    <a:custClr name="Lilac 30%">
      <a:srgbClr val="F1E2EF"/>
    </a:custClr>
    <a:custClr name="Yellow 30%">
      <a:srgbClr val="FFF8CA"/>
    </a:custClr>
    <a:custClr name="Blue 30%">
      <a:srgbClr val="DAE6F7"/>
    </a:custClr>
    <a:custClr name="Orange 30%">
      <a:srgbClr val="FFE3D2"/>
    </a:custClr>
    <a:custClr name="Sand 30%">
      <a:srgbClr val="FAEDE8"/>
    </a:custClr>
    <a:custClr name=" ">
      <a:srgbClr val="FFFFFF"/>
    </a:custClr>
    <a:custClr name=" ">
      <a:srgbClr val="FFFFFF"/>
    </a:custClr>
    <a:custClr name="Secondary Dark Green">
      <a:srgbClr val="477628"/>
    </a:custClr>
    <a:custClr name="Secondary Dark Blue">
      <a:srgbClr val="005C83"/>
    </a:custClr>
    <a:custClr name="Secondary Dark Purple">
      <a:srgbClr val="5B255D"/>
    </a:custClr>
    <a:custClr name="Secondary Dark Pink">
      <a:srgbClr val="CB3665"/>
    </a:custClr>
  </a:custClrLst>
  <a:extLst>
    <a:ext uri="{05A4C25C-085E-4340-85A3-A5531E510DB2}">
      <thm15:themeFamily xmlns:thm15="http://schemas.microsoft.com/office/thememl/2012/main" name="Our Brand - 16x9 template.potx" id="{E55E6273-F640-48D2-83D5-49EE84CA8E99}" vid="{01CE6CB8-42DE-46DB-AC7F-DB1CD4803B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65279;<?xml version="1.0" encoding="UTF-8" standalone="yes"?>
<Relationships xmlns="http://schemas.openxmlformats.org/package/2006/relationships">
  <Relationship Id="rId1" Type="http://schemas.openxmlformats.org/officeDocument/2006/relationships/customXmlProps" Target="itemProps1.xml" />
</Relationships>
</file>

<file path=customXml/_rels/item2.xml.rels>&#65279;<?xml version="1.0" encoding="UTF-8" standalone="yes"?>
<Relationships xmlns="http://schemas.openxmlformats.org/package/2006/relationships">
  <Relationship Id="rId1" Type="http://schemas.openxmlformats.org/officeDocument/2006/relationships/customXmlProps" Target="itemProps2.xml" />
</Relationships>
</file>

<file path=customXml/_rels/item3.xml.rels>&#65279;<?xml version="1.0" encoding="UTF-8" standalone="yes"?>
<Relationships xmlns="http://schemas.openxmlformats.org/package/2006/relationships">
  <Relationship Id="rId1" Type="http://schemas.openxmlformats.org/officeDocument/2006/relationships/customXmlProps" Target="itemProps3.xml" />
</Relationships>
</file>

<file path=customXml/_rels/item4.xml.rels>&#65279;<?xml version="1.0" encoding="UTF-8" standalone="yes"?>
<Relationships xmlns="http://schemas.openxmlformats.org/package/2006/relationships">
  <Relationship Id="rId1" Type="http://schemas.openxmlformats.org/officeDocument/2006/relationships/customXmlProps" Target="itemProps4.xml" />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DB06F494E8EB549826C9220B0DBFA18" ma:contentTypeVersion="16" ma:contentTypeDescription="Een nieuw document maken." ma:contentTypeScope="" ma:versionID="414f864c0881e15e13825fa09a19f777">
  <xsd:schema xmlns:xsd="http://www.w3.org/2001/XMLSchema" xmlns:xs="http://www.w3.org/2001/XMLSchema" xmlns:p="http://schemas.microsoft.com/office/2006/metadata/properties" xmlns:ns2="75f07b51-56a8-4864-ae81-cf734decc816" xmlns:ns3="ed40461a-5137-478f-933c-78946a0ec0ea" targetNamespace="http://schemas.microsoft.com/office/2006/metadata/properties" ma:root="true" ma:fieldsID="9e72bdff5fd4e166393a070fa4f05084" ns2:_="" ns3:_="">
    <xsd:import namespace="75f07b51-56a8-4864-ae81-cf734decc816"/>
    <xsd:import namespace="ed40461a-5137-478f-933c-78946a0ec0e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CR" minOccurs="0"/>
                <xsd:element ref="ns2:MediaServiceLocation"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SearchProperties"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f07b51-56a8-4864-ae81-cf734decc8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Afbeeldingtags" ma:readOnly="false" ma:fieldId="{5cf76f15-5ced-4ddc-b409-7134ff3c332f}" ma:taxonomyMulti="true" ma:sspId="b8e493f9-7e53-433e-af02-32115b8751d7" ma:termSetId="09814cd3-568e-fe90-9814-8d621ff8fb84" ma:anchorId="fba54fb3-c3e1-fe81-a776-ca4b69148c4d" ma:open="true" ma:isKeyword="false">
      <xsd:complexType>
        <xsd:sequence>
          <xsd:element ref="pc:Terms" minOccurs="0" maxOccurs="1"/>
        </xsd:sequence>
      </xsd:complex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d40461a-5137-478f-933c-78946a0ec0ea" elementFormDefault="qualified">
    <xsd:import namespace="http://schemas.microsoft.com/office/2006/documentManagement/types"/>
    <xsd:import namespace="http://schemas.microsoft.com/office/infopath/2007/PartnerControls"/>
    <xsd:element name="SharedWithUsers" ma:index="15"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Gedeeld met details" ma:internalName="SharedWithDetails" ma:readOnly="true">
      <xsd:simpleType>
        <xsd:restriction base="dms:Note">
          <xsd:maxLength value="255"/>
        </xsd:restriction>
      </xsd:simpleType>
    </xsd:element>
    <xsd:element name="TaxCatchAll" ma:index="19" nillable="true" ma:displayName="Taxonomy Catch All Column" ma:hidden="true" ma:list="{ae7152f3-c313-445d-9730-113d8dfcd85a}" ma:internalName="TaxCatchAll" ma:showField="CatchAllData" ma:web="ed40461a-5137-478f-933c-78946a0ec0e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1 6 " ? > < p r o p e r t i e s   x m l n s = " h t t p : / / w w w . i m a n a g e . c o m / w o r k / x m l s c h e m a " >  
     < d o c u m e n t i d > A D M I N ! 5 5 1 7 3 1 6 1 . 1 < / d o c u m e n t i d >  
     < s e n d e r i d > O T R < / s e n d e r i d >  
     < s e n d e r e m a i l > O L A F . T R O J A N @ T W O B I R D S . C O M < / s e n d e r e m a i l >  
     < l a s t m o d i f i e d > 2 0 2 3 - 0 2 - 1 5 T 2 2 : 3 8 : 1 2 . 0 0 0 0 0 0 0 + 0 1 : 0 0 < / l a s t m o d i f i e d >  
     < d a t a b a s e > A D M I N < / d a t a b a s e >  
 < / 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ed40461a-5137-478f-933c-78946a0ec0ea" xsi:nil="true"/>
    <lcf76f155ced4ddcb4097134ff3c332f xmlns="75f07b51-56a8-4864-ae81-cf734decc81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C9C1B83-14A4-43BD-842E-EE356D3A3A85}"/>
</file>

<file path=customXml/itemProps2.xml><?xml version="1.0" encoding="utf-8"?>
<ds:datastoreItem xmlns:ds="http://schemas.openxmlformats.org/officeDocument/2006/customXml" ds:itemID="{761ED9FD-F739-4269-A998-133C7A9AB9D3}">
  <ds:schemaRefs>
    <ds:schemaRef ds:uri="http://www.imanage.com/work/xmlschema"/>
  </ds:schemaRefs>
</ds:datastoreItem>
</file>

<file path=customXml/itemProps3.xml><?xml version="1.0" encoding="utf-8"?>
<ds:datastoreItem xmlns:ds="http://schemas.openxmlformats.org/officeDocument/2006/customXml" ds:itemID="{978467B0-637C-4192-BD0A-159DA533E583}">
  <ds:schemaRefs>
    <ds:schemaRef ds:uri="http://schemas.microsoft.com/sharepoint/v3/contenttype/forms"/>
  </ds:schemaRefs>
</ds:datastoreItem>
</file>

<file path=customXml/itemProps4.xml><?xml version="1.0" encoding="utf-8"?>
<ds:datastoreItem xmlns:ds="http://schemas.openxmlformats.org/officeDocument/2006/customXml" ds:itemID="{97DD9CF9-8FFE-42E6-A34E-F2A385143CE7}">
  <ds:schemaRefs>
    <ds:schemaRef ds:uri="http://schemas.openxmlformats.org/package/2006/metadata/core-properties"/>
    <ds:schemaRef ds:uri="http://schemas.microsoft.com/office/2006/documentManagement/types"/>
    <ds:schemaRef ds:uri="a98157ff-b017-4921-8ad2-a7dd8004cc35"/>
    <ds:schemaRef ds:uri="http://purl.org/dc/elements/1.1/"/>
    <ds:schemaRef ds:uri="http://schemas.microsoft.com/office/2006/metadata/properties"/>
    <ds:schemaRef ds:uri="http://schemas.microsoft.com/sharepoint/v3"/>
    <ds:schemaRef ds:uri="http://schemas.microsoft.com/office/infopath/2007/PartnerControls"/>
    <ds:schemaRef ds:uri="http://purl.org/dc/terms/"/>
    <ds:schemaRef ds:uri="e139d09a-41d9-45b5-98a0-2e84292a6e2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Words>1613</Words>
  <Application>Microsoft Office PowerPoint</Application>
  <PresentationFormat>Widescreen</PresentationFormat>
  <Paragraphs>228</Paragraphs>
  <Slides>40</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0</vt:i4>
      </vt:variant>
    </vt:vector>
  </HeadingPairs>
  <TitlesOfParts>
    <vt:vector size="46" baseType="lpstr">
      <vt:lpstr>Arial</vt:lpstr>
      <vt:lpstr>Calibri</vt:lpstr>
      <vt:lpstr>Georgia</vt:lpstr>
      <vt:lpstr>Open Sans</vt:lpstr>
      <vt:lpstr>Symbol</vt:lpstr>
      <vt:lpstr>Bird &amp; Bird - 16x9</vt:lpstr>
      <vt:lpstr>Portretrecht  Een vreemde (en glibberige) eend in de bijt  Olaf Trojan</vt:lpstr>
      <vt:lpstr>Artikel 21 Aw</vt:lpstr>
      <vt:lpstr>Het portretbegrip</vt:lpstr>
      <vt:lpstr>Ontwikkeling portretbegrip</vt:lpstr>
      <vt:lpstr>Ontwikkeling portretbegrip (2)</vt:lpstr>
      <vt:lpstr>Wat is een portret in de zin van artikel 21 Aw?</vt:lpstr>
      <vt:lpstr>Stelling 1: Is dit een portret?</vt:lpstr>
      <vt:lpstr>Het redelijk belang</vt:lpstr>
      <vt:lpstr>Vondelparkarrest (1988)</vt:lpstr>
      <vt:lpstr>Ferdi E. (1994)</vt:lpstr>
      <vt:lpstr>Discodanser (1997)</vt:lpstr>
      <vt:lpstr>Schipholfoto</vt:lpstr>
      <vt:lpstr>Loeren naar de hoeren</vt:lpstr>
      <vt:lpstr>'t Schaep met de vijf poten (1979)</vt:lpstr>
      <vt:lpstr>Reklos (2009)</vt:lpstr>
      <vt:lpstr>Caroline von Hannover II (2012)</vt:lpstr>
      <vt:lpstr>Cruijff / Tirion (2013)</vt:lpstr>
      <vt:lpstr>Redelijke vergoeding</vt:lpstr>
      <vt:lpstr>Hoogte vergoeding</vt:lpstr>
      <vt:lpstr>Bijkomende omstandigheden</vt:lpstr>
      <vt:lpstr>PowerPoint Presentation</vt:lpstr>
      <vt:lpstr>PowerPoint Presentation</vt:lpstr>
      <vt:lpstr>PowerPoint Presentation</vt:lpstr>
      <vt:lpstr>PowerPoint Presentation</vt:lpstr>
      <vt:lpstr>PowerPoint Presentation</vt:lpstr>
      <vt:lpstr>Reclame vs informatieve waarde</vt:lpstr>
      <vt:lpstr>Stelling 2</vt:lpstr>
      <vt:lpstr>Niet-bekende personen</vt:lpstr>
      <vt:lpstr>Niet-bekende personen (2)</vt:lpstr>
      <vt:lpstr>Niet-bekende personen (3)</vt:lpstr>
      <vt:lpstr>Stelling 3</vt:lpstr>
      <vt:lpstr>Juridische grondslag</vt:lpstr>
      <vt:lpstr>De net-niet-geportretteerde</vt:lpstr>
      <vt:lpstr>Persoonskenmerken</vt:lpstr>
      <vt:lpstr>Beatrix / Monsterboard</vt:lpstr>
      <vt:lpstr>AVG (artikel 4 lid 1)</vt:lpstr>
      <vt:lpstr>AVG (artikel 6 lid 1 sub AVG)</vt:lpstr>
      <vt:lpstr>Een vreemde eend in de bijt</vt:lpstr>
      <vt:lpstr>Stelling 4</vt:lpstr>
      <vt:lpstr>Dank!  Olaf Troja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file>